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1"/>
  </p:notesMasterIdLst>
  <p:sldIdLst>
    <p:sldId id="256" r:id="rId5"/>
    <p:sldId id="295" r:id="rId6"/>
    <p:sldId id="294" r:id="rId7"/>
    <p:sldId id="296" r:id="rId8"/>
    <p:sldId id="298" r:id="rId9"/>
    <p:sldId id="300" r:id="rId10"/>
  </p:sldIdLst>
  <p:sldSz cx="12192000" cy="6858000"/>
  <p:notesSz cx="7010400" cy="92964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8E1F657-509A-015F-1606-81ABB5B970D5}" name="Reneli Gloria" initials="RG" userId="63748d1c5526478d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C322D"/>
    <a:srgbClr val="663300"/>
    <a:srgbClr val="C5E0B4"/>
    <a:srgbClr val="F4B1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720"/>
  </p:normalViewPr>
  <p:slideViewPr>
    <p:cSldViewPr snapToGrid="0">
      <p:cViewPr varScale="1">
        <p:scale>
          <a:sx n="78" d="100"/>
          <a:sy n="78" d="100"/>
        </p:scale>
        <p:origin x="850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18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eneli Gloria" userId="63748d1c5526478d" providerId="LiveId" clId="{F5756B86-628F-413A-92E8-3051A0094470}"/>
    <pc:docChg chg="modSld">
      <pc:chgData name="Reneli Gloria" userId="63748d1c5526478d" providerId="LiveId" clId="{F5756B86-628F-413A-92E8-3051A0094470}" dt="2023-10-17T07:55:05.633" v="1" actId="20577"/>
      <pc:docMkLst>
        <pc:docMk/>
      </pc:docMkLst>
      <pc:sldChg chg="modSp mod">
        <pc:chgData name="Reneli Gloria" userId="63748d1c5526478d" providerId="LiveId" clId="{F5756B86-628F-413A-92E8-3051A0094470}" dt="2023-10-17T07:55:05.633" v="1" actId="20577"/>
        <pc:sldMkLst>
          <pc:docMk/>
          <pc:sldMk cId="412158556" sldId="298"/>
        </pc:sldMkLst>
        <pc:spChg chg="mod">
          <ac:chgData name="Reneli Gloria" userId="63748d1c5526478d" providerId="LiveId" clId="{F5756B86-628F-413A-92E8-3051A0094470}" dt="2023-10-17T07:55:05.633" v="1" actId="20577"/>
          <ac:spMkLst>
            <pc:docMk/>
            <pc:sldMk cId="412158556" sldId="298"/>
            <ac:spMk id="21" creationId="{F6C22850-FEBA-2936-9186-420BA9D05A1D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298C90-1C41-4D12-A5A5-42781F7C8992}" type="datetimeFigureOut">
              <a:rPr lang="en-US" smtClean="0"/>
              <a:t>10/1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732AF4-D90B-435C-A8DE-85A195A5832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00399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88774B-C016-0615-170C-DDE6831D43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3E9901F-8EC6-D157-67B5-BC4370D8DD1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1ADEA7-5C00-3740-20D7-79F4E7A060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0C4D27-6936-454D-B7AA-9406196C7A21}" type="datetime3">
              <a:rPr lang="en-US" smtClean="0"/>
              <a:t>17 October 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6EBFF9-87E5-C1EE-296B-76B8205361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C08D07-96CE-BF30-5DC1-712B7C948C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4711B-2BBD-4434-9CFE-8F1E27B56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86905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E8FA6C-594B-D57E-62E9-6B9D02DA38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84E4A5E-EC7D-995F-C106-27BCF125CD9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E264C4-24E9-379F-BC7D-65F1F1F848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60B376-34C5-4D20-8A01-A21928DB3A20}" type="datetime3">
              <a:rPr lang="en-US" smtClean="0"/>
              <a:t>17 October 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191778-D797-9F65-019C-A6EEAFBD07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4A69E1-C847-07D5-007B-79FA9A02E6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4711B-2BBD-4434-9CFE-8F1E27B56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73025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E78D75C-99BA-AB71-16F6-2F6A619E339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8617717-9374-DC70-E025-0F8A7A4AB66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52EC3A7-D38E-300E-F1B2-0F40D001E3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C163D7-2155-4054-88D0-296BB598112C}" type="datetime3">
              <a:rPr lang="en-US" smtClean="0"/>
              <a:t>17 October 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A132CD-7823-6D9C-357C-D8E5145AF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A0E0EA-DEFD-7A6B-C1D5-A4F74AE4F6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4711B-2BBD-4434-9CFE-8F1E27B56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04255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F8DB57-AEE3-D6A0-5790-889BCEBDC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BEFE88-5855-511D-5085-C5751D2446A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756583-2DDB-16E4-F67E-8401B22AF2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D6509-DE6D-4882-894F-4CD3224C60A6}" type="datetime3">
              <a:rPr lang="en-US" smtClean="0"/>
              <a:t>17 October 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39074E-BFE2-0CB4-52EC-689C75AB2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334685-693A-ED1A-8B41-E10223F9CD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4711B-2BBD-4434-9CFE-8F1E27B56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34799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4C01D5-BDE7-BB59-4E8B-32D095557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B975A04-C7AE-AAC1-CD4D-8BFB62A136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EE11CA-659E-128B-F241-E3A2F2C18B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8FF7CA-907C-4625-A1F2-09CB84311D5F}" type="datetime3">
              <a:rPr lang="en-US" smtClean="0"/>
              <a:t>17 October 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3DF0C9-0252-AE54-7991-66619ACC9B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6B79199-BF7F-BFCE-5576-37C4F90D65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4711B-2BBD-4434-9CFE-8F1E27B56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80406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83F972-6FA3-11AA-BFFD-12F1BFB5D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03BAFC-7AC1-F41D-BCB8-0A761271D61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0858D54-2FF5-93A1-60C2-2379B72B580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742E2C-1641-9337-8134-F17AFD7F44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F09EA0-2CA3-4E8A-8A69-F5DE2314DEF8}" type="datetime3">
              <a:rPr lang="en-US" smtClean="0"/>
              <a:t>17 October 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6214C4E-3977-B93B-A581-8527F0FF76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7ACAC20-F22F-479D-901A-E6C66F44B7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4711B-2BBD-4434-9CFE-8F1E27B56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29712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E2C891-06D7-8A73-02A2-7CD36BBF61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C87C79-F1D6-6808-0CD3-5C3D0E19A8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CE44657-EE53-DE98-BF62-052351681F5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4D63B12-5C6A-F70F-9CBD-A30E49935B3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129C3AD-E095-EBC7-4C49-BEE7C0DE124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056D7E0-7221-EDF8-769C-6C4F307689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EDCC79-2397-40A1-AC94-CD50A47DBC97}" type="datetime3">
              <a:rPr lang="en-US" smtClean="0"/>
              <a:t>17 October 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0356738-3534-309A-CFB1-EFC7B76A1D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5BE373A-664A-164C-9D26-74F28127F7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4711B-2BBD-4434-9CFE-8F1E27B56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56911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CEB006-5416-5BA6-A01E-ACB786D662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49E220A-27D2-1FFF-EBD9-E39415CDEC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564C31-4B45-4415-B826-9261B13F08DF}" type="datetime3">
              <a:rPr lang="en-US" smtClean="0"/>
              <a:t>17 October 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665164-EDBD-F2FF-CB01-73230BF943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FE930A0-9129-0310-9454-49D48C4C04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4711B-2BBD-4434-9CFE-8F1E27B56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58961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D7CA6BF-E3F5-C3C4-7387-C768C02A4B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0E5FC7-7AD9-4A97-A700-770C791A9B06}" type="datetime3">
              <a:rPr lang="en-US" smtClean="0"/>
              <a:t>17 October 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9CA89D8-293E-5944-6DF7-BFEFAC570A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853CDD-E788-B5C7-BF40-49411F4AD1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4711B-2BBD-4434-9CFE-8F1E27B56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92432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9CED15-4899-2AD1-451F-6F6B11F322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549F60-50E6-E35D-8C51-02E97907BD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01DBA3-8E1D-A0B4-D97A-FB086619A9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6A06284-EB7D-9695-D83E-F554E23C01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0228C3-3F9B-4F38-ACB7-DFAC9941F91A}" type="datetime3">
              <a:rPr lang="en-US" smtClean="0"/>
              <a:t>17 October 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83008A-32E7-085F-E478-8344416362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5D160DD-7FA8-ECFD-985F-AFA798A7D9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4711B-2BBD-4434-9CFE-8F1E27B56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03742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E054FE-85D7-03BC-444C-FE38988ADA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B9D08FE-7BD8-5D49-14A2-C1FAC1C12D9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5751DB9-BEA8-944D-931D-9B5C72C800D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68948EB-21D6-68DB-3B65-A9CD07DF79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86EE28-B83F-4E5D-A2F5-6F6883813283}" type="datetime3">
              <a:rPr lang="en-US" smtClean="0"/>
              <a:t>17 October 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8784A90-38E1-1352-2D02-B1CEB17544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884B2EC-7C10-D81B-8375-A5998125CB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4711B-2BBD-4434-9CFE-8F1E27B56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64930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9E78A73-D5EA-AC54-FA24-830A03CEFC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268715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E78A73-D5EA-AC54-FA24-830A03CEFC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7EE0FF2-8560-9049-D37F-84A5999922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B35836-6684-C1E7-3BAE-9FE4FB4117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655FF6-38B2-DD2F-867A-1595497EE2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43EAFEC-E589-4649-A4AC-19FE2E40A69A}" type="datetime3">
              <a:rPr lang="en-US" smtClean="0"/>
              <a:t>17 October 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500EF9-89B8-F9E8-0387-C6A5B4B6E6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A136B8-EE14-D0E4-6038-AED0DCAE9B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24711B-2BBD-4434-9CFE-8F1E27B5618A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7A9A0C5-416C-A0B1-80BE-A78F942FBCE6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0" y="6720840"/>
            <a:ext cx="6127750" cy="13716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. This information is accessible to ADB Management and staff. It may be shared outside ADB with appropriate permission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BF9F663-3111-077D-4C35-1A1A9A935478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9082416" y="410053"/>
            <a:ext cx="2271384" cy="883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2546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2.png"/><Relationship Id="rId10" Type="http://schemas.openxmlformats.org/officeDocument/2006/relationships/image" Target="../media/image11.png"/><Relationship Id="rId4" Type="http://schemas.openxmlformats.org/officeDocument/2006/relationships/image" Target="../media/image1.emf"/><Relationship Id="rId9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15.pn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oleObject" Target="../embeddings/oleObject7.bin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F31EE38-A458-C44D-4324-77A3D97041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9539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F31EE38-A458-C44D-4324-77A3D97041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1DF91F20-B96F-4F77-AC3E-2CDD3BAA10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2" y="0"/>
            <a:ext cx="12192004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3D487F7-9050-4871-B351-34A72ADB29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484" y="-1"/>
            <a:ext cx="8111296" cy="6858000"/>
          </a:xfrm>
          <a:prstGeom prst="rect">
            <a:avLst/>
          </a:prstGeom>
          <a:gradFill>
            <a:gsLst>
              <a:gs pos="8000">
                <a:srgbClr val="000000">
                  <a:alpha val="94000"/>
                </a:srgbClr>
              </a:gs>
              <a:gs pos="100000">
                <a:schemeClr val="accent1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43C27DD-EF6A-4C48-9669-C2970E71A8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858281" y="-401562"/>
            <a:ext cx="6858004" cy="7661129"/>
          </a:xfrm>
          <a:prstGeom prst="rect">
            <a:avLst/>
          </a:prstGeom>
          <a:gradFill>
            <a:gsLst>
              <a:gs pos="0">
                <a:schemeClr val="accent1">
                  <a:alpha val="23000"/>
                </a:schemeClr>
              </a:gs>
              <a:gs pos="71000">
                <a:schemeClr val="accent1">
                  <a:lumMod val="50000"/>
                  <a:alpha val="0"/>
                </a:schemeClr>
              </a:gs>
              <a:gs pos="100000">
                <a:srgbClr val="000000">
                  <a:alpha val="0"/>
                </a:srgb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84384FE-1C88-4CAA-8FB8-2313A3AE73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7519" y="-1"/>
            <a:ext cx="8118331" cy="6858000"/>
          </a:xfrm>
          <a:prstGeom prst="rect">
            <a:avLst/>
          </a:prstGeom>
          <a:gradFill>
            <a:gsLst>
              <a:gs pos="14000">
                <a:schemeClr val="accent1">
                  <a:alpha val="0"/>
                </a:schemeClr>
              </a:gs>
              <a:gs pos="100000">
                <a:srgbClr val="000000">
                  <a:alpha val="82000"/>
                </a:srgb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87B6A113-58CD-406C-BCE4-6E1F1F2BE6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5449520">
            <a:off x="2569700" y="983306"/>
            <a:ext cx="5005754" cy="5005754"/>
          </a:xfrm>
          <a:prstGeom prst="ellipse">
            <a:avLst/>
          </a:prstGeom>
          <a:gradFill>
            <a:gsLst>
              <a:gs pos="17000">
                <a:schemeClr val="accent1">
                  <a:lumMod val="75000"/>
                  <a:alpha val="0"/>
                </a:schemeClr>
              </a:gs>
              <a:gs pos="82000">
                <a:srgbClr val="000000">
                  <a:alpha val="24000"/>
                </a:srgbClr>
              </a:gs>
            </a:gsLst>
            <a:lin ang="9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06ECCD-D7E4-91F6-1669-78752983AD2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6716" y="857251"/>
            <a:ext cx="7523502" cy="3160113"/>
          </a:xfrm>
        </p:spPr>
        <p:txBody>
          <a:bodyPr vert="horz" anchor="b">
            <a:noAutofit/>
          </a:bodyPr>
          <a:lstStyle/>
          <a:p>
            <a:pPr algn="l"/>
            <a:br>
              <a:rPr lang="en-US" sz="3200" b="1" dirty="0">
                <a:solidFill>
                  <a:srgbClr val="FFFFFF"/>
                </a:solidFill>
                <a:latin typeface="Century Gothic" panose="020B0502020202020204" pitchFamily="34" charset="0"/>
              </a:rPr>
            </a:br>
            <a:r>
              <a:rPr lang="ru-RU" sz="2000" b="1" dirty="0">
                <a:solidFill>
                  <a:srgbClr val="FFFFFF"/>
                </a:solidFill>
                <a:latin typeface="Century Gothic" panose="020B0502020202020204" pitchFamily="34" charset="0"/>
              </a:rPr>
              <a:t>обновленная информация по предстоящему</a:t>
            </a:r>
            <a:br>
              <a:rPr lang="en-US" sz="4000" b="1" dirty="0">
                <a:solidFill>
                  <a:srgbClr val="FFFFFF"/>
                </a:solidFill>
                <a:latin typeface="Century Gothic" panose="020B0502020202020204" pitchFamily="34" charset="0"/>
              </a:rPr>
            </a:br>
            <a:r>
              <a:rPr lang="ru-RU" sz="4000" b="1" dirty="0">
                <a:solidFill>
                  <a:srgbClr val="FFFFFF"/>
                </a:solidFill>
                <a:latin typeface="Century Gothic" panose="020B0502020202020204" pitchFamily="34" charset="0"/>
              </a:rPr>
              <a:t>Энергетическому инвестиционному форуму</a:t>
            </a:r>
            <a:br>
              <a:rPr lang="en-US" sz="2800" b="1" dirty="0">
                <a:solidFill>
                  <a:srgbClr val="FFFFFF"/>
                </a:solidFill>
                <a:latin typeface="Century Gothic" panose="020B0502020202020204" pitchFamily="34" charset="0"/>
              </a:rPr>
            </a:br>
            <a:r>
              <a:rPr lang="ru-RU" sz="2000" b="1" dirty="0">
                <a:solidFill>
                  <a:srgbClr val="FFFFFF"/>
                </a:solidFill>
                <a:latin typeface="Century Gothic" panose="020B0502020202020204" pitchFamily="34" charset="0"/>
              </a:rPr>
              <a:t>Тбилиси, 28-29 ноября 2023 г.</a:t>
            </a:r>
            <a:endParaRPr lang="en-US" sz="4000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5A1AA86-B7E6-4C02-AA34-F1A25CD4CC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7518" y="4354178"/>
            <a:ext cx="8118330" cy="2503817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33000"/>
                </a:schemeClr>
              </a:gs>
              <a:gs pos="83000">
                <a:srgbClr val="000000">
                  <a:alpha val="21000"/>
                </a:srgb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9D5B5D1-37C4-3302-5037-C57AF5D162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9313" y="4800600"/>
            <a:ext cx="6699066" cy="1200149"/>
          </a:xfrm>
        </p:spPr>
        <p:txBody>
          <a:bodyPr anchor="t">
            <a:normAutofit fontScale="92500" lnSpcReduction="10000"/>
          </a:bodyPr>
          <a:lstStyle/>
          <a:p>
            <a:pPr algn="l"/>
            <a:r>
              <a:rPr lang="ru-RU" sz="2000" dirty="0">
                <a:solidFill>
                  <a:srgbClr val="FFFFFF"/>
                </a:solidFill>
                <a:latin typeface="Century Gothic" panose="020B0502020202020204" pitchFamily="34" charset="0"/>
              </a:rPr>
              <a:t>Алтынай </a:t>
            </a:r>
            <a:r>
              <a:rPr lang="ru-RU" sz="2000" dirty="0" err="1">
                <a:solidFill>
                  <a:srgbClr val="FFFFFF"/>
                </a:solidFill>
                <a:latin typeface="Century Gothic" panose="020B0502020202020204" pitchFamily="34" charset="0"/>
              </a:rPr>
              <a:t>Арапова</a:t>
            </a:r>
            <a:r>
              <a:rPr lang="ru-RU" sz="2000" dirty="0">
                <a:solidFill>
                  <a:srgbClr val="FFFFFF"/>
                </a:solidFill>
                <a:latin typeface="Century Gothic" panose="020B0502020202020204" pitchFamily="34" charset="0"/>
              </a:rPr>
              <a:t>, экономист, Отдел регионального сотрудничества и координации операций, Департамент Центральной и Западной Азии, АБР</a:t>
            </a:r>
          </a:p>
          <a:p>
            <a:pPr algn="l"/>
            <a:r>
              <a:rPr lang="en-US" sz="2000" dirty="0" err="1">
                <a:solidFill>
                  <a:srgbClr val="FFFFFF"/>
                </a:solidFill>
                <a:latin typeface="Century Gothic" panose="020B0502020202020204" pitchFamily="34" charset="0"/>
              </a:rPr>
              <a:t>aarapova@adb.org</a:t>
            </a:r>
            <a:endParaRPr lang="en-US" sz="2000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A18AACE-39DF-F1BE-4C06-C992B97F395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84892" y="315310"/>
            <a:ext cx="2271384" cy="883919"/>
          </a:xfrm>
          <a:prstGeom prst="rect">
            <a:avLst/>
          </a:prstGeom>
        </p:spPr>
      </p:pic>
      <p:pic>
        <p:nvPicPr>
          <p:cNvPr id="4" name="Picture 3" descr="A logo with red and yellow colors&#10;&#10;Description automatically generated">
            <a:extLst>
              <a:ext uri="{FF2B5EF4-FFF2-40B4-BE49-F238E27FC236}">
                <a16:creationId xmlns:a16="http://schemas.microsoft.com/office/drawing/2014/main" id="{20B6C6AF-B77D-346A-6D06-F07FD878C0A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19531" y="4836117"/>
            <a:ext cx="2105246" cy="1956365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D52E076-B04B-0AAB-27A3-A5B093A7EC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4711B-2BBD-4434-9CFE-8F1E27B5618A}" type="slidenum">
              <a:rPr lang="en-US" smtClean="0"/>
              <a:t>1</a:t>
            </a:fld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96DAE4-8AA4-6846-8BB5-775EED0C3934}"/>
              </a:ext>
            </a:extLst>
          </p:cNvPr>
          <p:cNvSpPr txBox="1"/>
          <p:nvPr/>
        </p:nvSpPr>
        <p:spPr>
          <a:xfrm>
            <a:off x="8574568" y="1329873"/>
            <a:ext cx="36032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accent2"/>
                </a:solidFill>
              </a:rPr>
              <a:t>Энергетическая стратегия ЦАРЭС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11483F9-FD8F-284D-B44C-495DC2F653C2}"/>
              </a:ext>
            </a:extLst>
          </p:cNvPr>
          <p:cNvSpPr txBox="1"/>
          <p:nvPr/>
        </p:nvSpPr>
        <p:spPr>
          <a:xfrm>
            <a:off x="8706175" y="3552629"/>
            <a:ext cx="333195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C00000"/>
                </a:solidFill>
              </a:rPr>
              <a:t>Программа Центрально-Азиатского регионального экономического сотрудничества (ЦАРЭС) </a:t>
            </a:r>
          </a:p>
        </p:txBody>
      </p:sp>
    </p:spTree>
    <p:extLst>
      <p:ext uri="{BB962C8B-B14F-4D97-AF65-F5344CB8AC3E}">
        <p14:creationId xmlns:p14="http://schemas.microsoft.com/office/powerpoint/2010/main" val="17145570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7A34EEB-7B1F-4B60-651D-8D5E2CCDF9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5347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A34EEB-7B1F-4B60-651D-8D5E2CCDF9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70F4579-B377-DE92-EEAC-AFDD44A82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104" y="136525"/>
            <a:ext cx="10515600" cy="1325563"/>
          </a:xfrm>
        </p:spPr>
        <p:txBody>
          <a:bodyPr vert="horz"/>
          <a:lstStyle/>
          <a:p>
            <a:r>
              <a:rPr lang="ru-RU" sz="4000" b="1" dirty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rPr>
              <a:t>Справочная информация</a:t>
            </a:r>
            <a:endParaRPr lang="en-US" sz="4000" b="1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EA47768-AF13-069E-AC72-A62E3E04CAF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7297" y="1389227"/>
            <a:ext cx="5149369" cy="293394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6B431C8-E847-3118-3E7B-882015E1C78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8951" y="4323169"/>
            <a:ext cx="3234669" cy="184300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7EC9771-7545-A718-5F49-880C60C011E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14270" y="4323169"/>
            <a:ext cx="3234669" cy="1843009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7E65403-B6FF-4104-D83E-948D156A4E3C}"/>
              </a:ext>
            </a:extLst>
          </p:cNvPr>
          <p:cNvSpPr txBox="1">
            <a:spLocks/>
          </p:cNvSpPr>
          <p:nvPr/>
        </p:nvSpPr>
        <p:spPr>
          <a:xfrm>
            <a:off x="5804451" y="1385204"/>
            <a:ext cx="5932445" cy="4477115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1" dirty="0">
                <a:solidFill>
                  <a:srgbClr val="0070C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первые Энергетический инвестиционный форум (ЭИФ) ЦАРЭС прошел в Исламабаде в 2016 году. </a:t>
            </a:r>
          </a:p>
          <a:p>
            <a:r>
              <a:rPr lang="ru-RU" sz="1800" b="1" dirty="0">
                <a:solidFill>
                  <a:srgbClr val="0070C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оследующие ЭИФ были проведены в Астане в 2017 году, Батуми (Грузия) в 2018 году и Ташкенте в 2019 году. </a:t>
            </a:r>
          </a:p>
          <a:p>
            <a:r>
              <a:rPr lang="ru-RU" sz="1800" b="1" dirty="0">
                <a:solidFill>
                  <a:srgbClr val="0070C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 связи с </a:t>
            </a:r>
            <a:r>
              <a:rPr lang="en-US" sz="1800" b="1" dirty="0">
                <a:solidFill>
                  <a:srgbClr val="0070C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VID-19, </a:t>
            </a:r>
            <a:r>
              <a:rPr lang="ru-RU" sz="1800" b="1" dirty="0">
                <a:solidFill>
                  <a:srgbClr val="0070C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 2020 и 2022 годах ЭИФ не проводился. </a:t>
            </a:r>
          </a:p>
          <a:p>
            <a:r>
              <a:rPr lang="ru-RU" sz="1800" b="1" dirty="0">
                <a:solidFill>
                  <a:srgbClr val="0070C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 2021 году ЭИФ был проведен в виртуальном формате.</a:t>
            </a:r>
            <a:endParaRPr lang="en-US" sz="1800" b="1" dirty="0">
              <a:latin typeface="Century Gothic" panose="020B0502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AB18A0B-D2D1-91D3-DF4A-9506D5109059}"/>
              </a:ext>
            </a:extLst>
          </p:cNvPr>
          <p:cNvSpPr txBox="1"/>
          <p:nvPr/>
        </p:nvSpPr>
        <p:spPr>
          <a:xfrm>
            <a:off x="7169589" y="4487374"/>
            <a:ext cx="401475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b="1" dirty="0">
                <a:solidFill>
                  <a:srgbClr val="C0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 2023 году ЭИФ пройдет в Тбилиси, 28 и 29 ноября.</a:t>
            </a:r>
            <a:endParaRPr lang="en-US" sz="2400" b="1" dirty="0">
              <a:solidFill>
                <a:srgbClr val="C00000"/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11131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D885838-C520-FEE7-FA16-EE8360BA793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4508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885838-C520-FEE7-FA16-EE8360BA79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777A147A-9ED8-46B4-8660-1B3C2AA880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ketch line">
            <a:extLst>
              <a:ext uri="{FF2B5EF4-FFF2-40B4-BE49-F238E27FC236}">
                <a16:creationId xmlns:a16="http://schemas.microsoft.com/office/drawing/2014/main" id="{5D6C15A0-C087-4593-8414-2B4EC1CDC3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2543983" y="3258715"/>
            <a:ext cx="4480560" cy="18288"/>
          </a:xfrm>
          <a:custGeom>
            <a:avLst/>
            <a:gdLst>
              <a:gd name="connsiteX0" fmla="*/ 0 w 4480560"/>
              <a:gd name="connsiteY0" fmla="*/ 0 h 18288"/>
              <a:gd name="connsiteX1" fmla="*/ 595274 w 4480560"/>
              <a:gd name="connsiteY1" fmla="*/ 0 h 18288"/>
              <a:gd name="connsiteX2" fmla="*/ 1100938 w 4480560"/>
              <a:gd name="connsiteY2" fmla="*/ 0 h 18288"/>
              <a:gd name="connsiteX3" fmla="*/ 1651406 w 4480560"/>
              <a:gd name="connsiteY3" fmla="*/ 0 h 18288"/>
              <a:gd name="connsiteX4" fmla="*/ 2336292 w 4480560"/>
              <a:gd name="connsiteY4" fmla="*/ 0 h 18288"/>
              <a:gd name="connsiteX5" fmla="*/ 2931566 w 4480560"/>
              <a:gd name="connsiteY5" fmla="*/ 0 h 18288"/>
              <a:gd name="connsiteX6" fmla="*/ 3482035 w 4480560"/>
              <a:gd name="connsiteY6" fmla="*/ 0 h 18288"/>
              <a:gd name="connsiteX7" fmla="*/ 4480560 w 4480560"/>
              <a:gd name="connsiteY7" fmla="*/ 0 h 18288"/>
              <a:gd name="connsiteX8" fmla="*/ 4480560 w 4480560"/>
              <a:gd name="connsiteY8" fmla="*/ 18288 h 18288"/>
              <a:gd name="connsiteX9" fmla="*/ 3840480 w 4480560"/>
              <a:gd name="connsiteY9" fmla="*/ 18288 h 18288"/>
              <a:gd name="connsiteX10" fmla="*/ 3290011 w 4480560"/>
              <a:gd name="connsiteY10" fmla="*/ 18288 h 18288"/>
              <a:gd name="connsiteX11" fmla="*/ 2560320 w 4480560"/>
              <a:gd name="connsiteY11" fmla="*/ 18288 h 18288"/>
              <a:gd name="connsiteX12" fmla="*/ 1965046 w 4480560"/>
              <a:gd name="connsiteY12" fmla="*/ 18288 h 18288"/>
              <a:gd name="connsiteX13" fmla="*/ 1459382 w 4480560"/>
              <a:gd name="connsiteY13" fmla="*/ 18288 h 18288"/>
              <a:gd name="connsiteX14" fmla="*/ 774497 w 4480560"/>
              <a:gd name="connsiteY14" fmla="*/ 18288 h 18288"/>
              <a:gd name="connsiteX15" fmla="*/ 0 w 4480560"/>
              <a:gd name="connsiteY15" fmla="*/ 18288 h 18288"/>
              <a:gd name="connsiteX16" fmla="*/ 0 w 4480560"/>
              <a:gd name="connsiteY16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480560" h="18288" fill="none" extrusionOk="0">
                <a:moveTo>
                  <a:pt x="0" y="0"/>
                </a:moveTo>
                <a:cubicBezTo>
                  <a:pt x="267821" y="8731"/>
                  <a:pt x="334105" y="2629"/>
                  <a:pt x="595274" y="0"/>
                </a:cubicBezTo>
                <a:cubicBezTo>
                  <a:pt x="856443" y="-2629"/>
                  <a:pt x="863808" y="-13353"/>
                  <a:pt x="1100938" y="0"/>
                </a:cubicBezTo>
                <a:cubicBezTo>
                  <a:pt x="1338068" y="13353"/>
                  <a:pt x="1431663" y="-25862"/>
                  <a:pt x="1651406" y="0"/>
                </a:cubicBezTo>
                <a:cubicBezTo>
                  <a:pt x="1871149" y="25862"/>
                  <a:pt x="2173163" y="23827"/>
                  <a:pt x="2336292" y="0"/>
                </a:cubicBezTo>
                <a:cubicBezTo>
                  <a:pt x="2499421" y="-23827"/>
                  <a:pt x="2720589" y="28148"/>
                  <a:pt x="2931566" y="0"/>
                </a:cubicBezTo>
                <a:cubicBezTo>
                  <a:pt x="3142543" y="-28148"/>
                  <a:pt x="3323630" y="27022"/>
                  <a:pt x="3482035" y="0"/>
                </a:cubicBezTo>
                <a:cubicBezTo>
                  <a:pt x="3640440" y="-27022"/>
                  <a:pt x="4012110" y="-20118"/>
                  <a:pt x="4480560" y="0"/>
                </a:cubicBezTo>
                <a:cubicBezTo>
                  <a:pt x="4480958" y="7429"/>
                  <a:pt x="4480540" y="10822"/>
                  <a:pt x="4480560" y="18288"/>
                </a:cubicBezTo>
                <a:cubicBezTo>
                  <a:pt x="4314132" y="14924"/>
                  <a:pt x="4028383" y="36632"/>
                  <a:pt x="3840480" y="18288"/>
                </a:cubicBezTo>
                <a:cubicBezTo>
                  <a:pt x="3652577" y="-56"/>
                  <a:pt x="3547615" y="2848"/>
                  <a:pt x="3290011" y="18288"/>
                </a:cubicBezTo>
                <a:cubicBezTo>
                  <a:pt x="3032407" y="33728"/>
                  <a:pt x="2830268" y="8719"/>
                  <a:pt x="2560320" y="18288"/>
                </a:cubicBezTo>
                <a:cubicBezTo>
                  <a:pt x="2290372" y="27857"/>
                  <a:pt x="2147422" y="6728"/>
                  <a:pt x="1965046" y="18288"/>
                </a:cubicBezTo>
                <a:cubicBezTo>
                  <a:pt x="1782670" y="29848"/>
                  <a:pt x="1689791" y="40680"/>
                  <a:pt x="1459382" y="18288"/>
                </a:cubicBezTo>
                <a:cubicBezTo>
                  <a:pt x="1228973" y="-4104"/>
                  <a:pt x="915486" y="36501"/>
                  <a:pt x="774497" y="18288"/>
                </a:cubicBezTo>
                <a:cubicBezTo>
                  <a:pt x="633508" y="75"/>
                  <a:pt x="361442" y="-11107"/>
                  <a:pt x="0" y="18288"/>
                </a:cubicBezTo>
                <a:cubicBezTo>
                  <a:pt x="-591" y="13205"/>
                  <a:pt x="-663" y="6329"/>
                  <a:pt x="0" y="0"/>
                </a:cubicBezTo>
                <a:close/>
              </a:path>
              <a:path w="4480560" h="18288" stroke="0" extrusionOk="0">
                <a:moveTo>
                  <a:pt x="0" y="0"/>
                </a:moveTo>
                <a:cubicBezTo>
                  <a:pt x="285465" y="225"/>
                  <a:pt x="322691" y="16223"/>
                  <a:pt x="595274" y="0"/>
                </a:cubicBezTo>
                <a:cubicBezTo>
                  <a:pt x="867857" y="-16223"/>
                  <a:pt x="989129" y="-11242"/>
                  <a:pt x="1100938" y="0"/>
                </a:cubicBezTo>
                <a:cubicBezTo>
                  <a:pt x="1212747" y="11242"/>
                  <a:pt x="1574350" y="-36410"/>
                  <a:pt x="1830629" y="0"/>
                </a:cubicBezTo>
                <a:cubicBezTo>
                  <a:pt x="2086908" y="36410"/>
                  <a:pt x="2180922" y="4645"/>
                  <a:pt x="2425903" y="0"/>
                </a:cubicBezTo>
                <a:cubicBezTo>
                  <a:pt x="2670884" y="-4645"/>
                  <a:pt x="2782024" y="22929"/>
                  <a:pt x="3021178" y="0"/>
                </a:cubicBezTo>
                <a:cubicBezTo>
                  <a:pt x="3260332" y="-22929"/>
                  <a:pt x="3456982" y="-1586"/>
                  <a:pt x="3750869" y="0"/>
                </a:cubicBezTo>
                <a:cubicBezTo>
                  <a:pt x="4044756" y="1586"/>
                  <a:pt x="4302726" y="17043"/>
                  <a:pt x="4480560" y="0"/>
                </a:cubicBezTo>
                <a:cubicBezTo>
                  <a:pt x="4479674" y="5429"/>
                  <a:pt x="4481381" y="14046"/>
                  <a:pt x="4480560" y="18288"/>
                </a:cubicBezTo>
                <a:cubicBezTo>
                  <a:pt x="4279652" y="-6850"/>
                  <a:pt x="4200762" y="41566"/>
                  <a:pt x="3930091" y="18288"/>
                </a:cubicBezTo>
                <a:cubicBezTo>
                  <a:pt x="3659420" y="-4990"/>
                  <a:pt x="3456052" y="22294"/>
                  <a:pt x="3290011" y="18288"/>
                </a:cubicBezTo>
                <a:cubicBezTo>
                  <a:pt x="3123970" y="14282"/>
                  <a:pt x="2882392" y="32818"/>
                  <a:pt x="2649931" y="18288"/>
                </a:cubicBezTo>
                <a:cubicBezTo>
                  <a:pt x="2417470" y="3758"/>
                  <a:pt x="2238426" y="7337"/>
                  <a:pt x="2054657" y="18288"/>
                </a:cubicBezTo>
                <a:cubicBezTo>
                  <a:pt x="1870888" y="29239"/>
                  <a:pt x="1566368" y="45040"/>
                  <a:pt x="1324966" y="18288"/>
                </a:cubicBezTo>
                <a:cubicBezTo>
                  <a:pt x="1083564" y="-8464"/>
                  <a:pt x="787410" y="10946"/>
                  <a:pt x="595274" y="18288"/>
                </a:cubicBezTo>
                <a:cubicBezTo>
                  <a:pt x="403138" y="25630"/>
                  <a:pt x="169622" y="10499"/>
                  <a:pt x="0" y="18288"/>
                </a:cubicBezTo>
                <a:cubicBezTo>
                  <a:pt x="668" y="13665"/>
                  <a:pt x="578" y="5675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32EA9FC-9C8C-304D-BD2B-9F2981F1DB4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10327" y="143660"/>
            <a:ext cx="2271384" cy="883919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FC683E-E650-BF3F-3AE0-6E4BAA06FD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4711B-2BBD-4434-9CFE-8F1E27B5618A}" type="slidenum">
              <a:rPr lang="en-US" smtClean="0"/>
              <a:t>3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0C2EC01-E477-2037-2906-8D2B94575EF5}"/>
              </a:ext>
            </a:extLst>
          </p:cNvPr>
          <p:cNvSpPr/>
          <p:nvPr/>
        </p:nvSpPr>
        <p:spPr>
          <a:xfrm>
            <a:off x="4354263" y="883918"/>
            <a:ext cx="495177" cy="5213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B908C59-18D8-DD00-C2E1-391034504558}"/>
              </a:ext>
            </a:extLst>
          </p:cNvPr>
          <p:cNvSpPr/>
          <p:nvPr/>
        </p:nvSpPr>
        <p:spPr>
          <a:xfrm>
            <a:off x="299083" y="1689333"/>
            <a:ext cx="5678964" cy="1512550"/>
          </a:xfrm>
          <a:prstGeom prst="rect">
            <a:avLst/>
          </a:prstGeom>
          <a:solidFill>
            <a:schemeClr val="accent3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Century Gothic" panose="020B0502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0DA770B-5EBA-6C55-D7C0-0D74460A7ADD}"/>
              </a:ext>
            </a:extLst>
          </p:cNvPr>
          <p:cNvSpPr/>
          <p:nvPr/>
        </p:nvSpPr>
        <p:spPr>
          <a:xfrm>
            <a:off x="306759" y="3297563"/>
            <a:ext cx="5678964" cy="1512551"/>
          </a:xfrm>
          <a:prstGeom prst="rect">
            <a:avLst/>
          </a:prstGeom>
          <a:solidFill>
            <a:schemeClr val="accent3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Century Gothic" panose="020B0502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EA0D0BD-C28B-B2FF-A27C-80D668EABB76}"/>
              </a:ext>
            </a:extLst>
          </p:cNvPr>
          <p:cNvSpPr/>
          <p:nvPr/>
        </p:nvSpPr>
        <p:spPr>
          <a:xfrm>
            <a:off x="306759" y="4896308"/>
            <a:ext cx="5678964" cy="1512551"/>
          </a:xfrm>
          <a:prstGeom prst="rect">
            <a:avLst/>
          </a:prstGeom>
          <a:solidFill>
            <a:schemeClr val="accent3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Century Gothic" panose="020B0502020202020204" pitchFamily="34" charset="0"/>
            </a:endParaRP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AB770AE1-315D-4AD6-DBA6-28F7D0E0CC4E}"/>
              </a:ext>
            </a:extLst>
          </p:cNvPr>
          <p:cNvSpPr txBox="1">
            <a:spLocks/>
          </p:cNvSpPr>
          <p:nvPr/>
        </p:nvSpPr>
        <p:spPr>
          <a:xfrm>
            <a:off x="1604319" y="1847933"/>
            <a:ext cx="4289591" cy="643885"/>
          </a:xfrm>
          <a:prstGeom prst="rect">
            <a:avLst/>
          </a:prstGeom>
          <a:noFill/>
        </p:spPr>
        <p:txBody>
          <a:bodyPr lIns="182880" tIns="0" rIns="182880" bIns="0" anchor="t">
            <a:noAutofit/>
          </a:bodyPr>
          <a:lstStyle>
            <a:lvl1pPr marL="0" indent="0" algn="ctr" defTabSz="914377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dirty="0">
                <a:solidFill>
                  <a:srgbClr val="BC322D"/>
                </a:solidFill>
                <a:latin typeface="Century Gothic" panose="020B0502020202020204" pitchFamily="34" charset="0"/>
              </a:rPr>
              <a:t>ЭИФ является платформой </a:t>
            </a:r>
            <a:r>
              <a:rPr lang="ru-RU" dirty="0">
                <a:solidFill>
                  <a:srgbClr val="0070C0"/>
                </a:solidFill>
                <a:latin typeface="Century Gothic" panose="020B0502020202020204" pitchFamily="34" charset="0"/>
              </a:rPr>
              <a:t>для взаимодействия правительств стран региона ЦАРЭС, разработчиков проектов, партнеров по развитию, финансовых организаций и других заинтересованных сторон.</a:t>
            </a:r>
            <a:endParaRPr lang="en-US" dirty="0">
              <a:solidFill>
                <a:srgbClr val="0070C0"/>
              </a:solidFill>
              <a:latin typeface="Century Gothic" panose="020B0502020202020204" pitchFamily="34" charset="0"/>
            </a:endParaRP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CDDDC067-2A0F-38A4-9D29-9E878204CE0F}"/>
              </a:ext>
            </a:extLst>
          </p:cNvPr>
          <p:cNvSpPr txBox="1">
            <a:spLocks/>
          </p:cNvSpPr>
          <p:nvPr/>
        </p:nvSpPr>
        <p:spPr>
          <a:xfrm>
            <a:off x="1604319" y="3469457"/>
            <a:ext cx="4135785" cy="643885"/>
          </a:xfrm>
          <a:prstGeom prst="rect">
            <a:avLst/>
          </a:prstGeom>
          <a:noFill/>
        </p:spPr>
        <p:txBody>
          <a:bodyPr lIns="182880" tIns="0" rIns="182880" bIns="0" anchor="t">
            <a:noAutofit/>
          </a:bodyPr>
          <a:lstStyle>
            <a:lvl1pPr marL="0" indent="0" algn="ctr" defTabSz="914377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dirty="0">
                <a:solidFill>
                  <a:srgbClr val="0070C0"/>
                </a:solidFill>
                <a:latin typeface="Century Gothic" panose="020B0502020202020204" pitchFamily="34" charset="0"/>
              </a:rPr>
              <a:t>Основная цель форума – </a:t>
            </a:r>
            <a:r>
              <a:rPr lang="ru-RU" dirty="0">
                <a:solidFill>
                  <a:srgbClr val="C00000"/>
                </a:solidFill>
                <a:latin typeface="Century Gothic" panose="020B0502020202020204" pitchFamily="34" charset="0"/>
              </a:rPr>
              <a:t>стимулировать диалог</a:t>
            </a:r>
            <a:r>
              <a:rPr lang="ru-RU" dirty="0">
                <a:solidFill>
                  <a:srgbClr val="0070C0"/>
                </a:solidFill>
                <a:latin typeface="Century Gothic" panose="020B0502020202020204" pitchFamily="34" charset="0"/>
              </a:rPr>
              <a:t>, который приведет к инициированию новых проектов в области устойчивой энергетики, и способствовать привлечению финансирования для этих проектов.</a:t>
            </a:r>
            <a:endParaRPr lang="en-US" dirty="0">
              <a:solidFill>
                <a:srgbClr val="0070C0"/>
              </a:solidFill>
              <a:latin typeface="Century Gothic" panose="020B0502020202020204" pitchFamily="34" charset="0"/>
            </a:endParaRP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86E34D12-425B-19D1-2CA9-4B97BAE717AF}"/>
              </a:ext>
            </a:extLst>
          </p:cNvPr>
          <p:cNvSpPr txBox="1">
            <a:spLocks/>
          </p:cNvSpPr>
          <p:nvPr/>
        </p:nvSpPr>
        <p:spPr>
          <a:xfrm>
            <a:off x="7346424" y="1764723"/>
            <a:ext cx="4363053" cy="1704734"/>
          </a:xfrm>
          <a:prstGeom prst="rect">
            <a:avLst/>
          </a:prstGeom>
          <a:noFill/>
        </p:spPr>
        <p:txBody>
          <a:bodyPr lIns="182880" tIns="0" rIns="182880" bIns="0" anchor="t">
            <a:noAutofit/>
          </a:bodyPr>
          <a:lstStyle>
            <a:lvl1pPr marL="0" indent="0" algn="ctr" defTabSz="914377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dirty="0">
                <a:solidFill>
                  <a:srgbClr val="0070C0"/>
                </a:solidFill>
                <a:latin typeface="Century Gothic" panose="020B0502020202020204" pitchFamily="34" charset="0"/>
              </a:rPr>
              <a:t>Основная задача – </a:t>
            </a:r>
            <a:r>
              <a:rPr lang="ru-RU" dirty="0">
                <a:solidFill>
                  <a:srgbClr val="C00000"/>
                </a:solidFill>
                <a:latin typeface="Century Gothic" panose="020B0502020202020204" pitchFamily="34" charset="0"/>
              </a:rPr>
              <a:t>ускорить финансирование этих проектов </a:t>
            </a:r>
            <a:r>
              <a:rPr lang="ru-RU" dirty="0">
                <a:solidFill>
                  <a:srgbClr val="0070C0"/>
                </a:solidFill>
                <a:latin typeface="Century Gothic" panose="020B0502020202020204" pitchFamily="34" charset="0"/>
              </a:rPr>
              <a:t>и обеспечить их своевременную реализацию, опираясь на опыт банков развития, частных компаний и основных региональных заинтересованных сторон.</a:t>
            </a:r>
            <a:endParaRPr lang="en-US" dirty="0">
              <a:solidFill>
                <a:srgbClr val="0070C0"/>
              </a:solidFill>
              <a:latin typeface="Century Gothic" panose="020B0502020202020204" pitchFamily="34" charset="0"/>
            </a:endParaRP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EBA57632-8337-D681-3E92-D3071477A0AA}"/>
              </a:ext>
            </a:extLst>
          </p:cNvPr>
          <p:cNvSpPr txBox="1">
            <a:spLocks/>
          </p:cNvSpPr>
          <p:nvPr/>
        </p:nvSpPr>
        <p:spPr>
          <a:xfrm>
            <a:off x="1604319" y="5034140"/>
            <a:ext cx="4135785" cy="643885"/>
          </a:xfrm>
          <a:prstGeom prst="rect">
            <a:avLst/>
          </a:prstGeom>
          <a:noFill/>
        </p:spPr>
        <p:txBody>
          <a:bodyPr lIns="182880" tIns="0" rIns="182880" bIns="0" anchor="t">
            <a:noAutofit/>
          </a:bodyPr>
          <a:lstStyle>
            <a:lvl1pPr marL="0" indent="0" algn="ctr" defTabSz="914377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dirty="0">
                <a:solidFill>
                  <a:srgbClr val="0070C0"/>
                </a:solidFill>
                <a:latin typeface="Century Gothic" panose="020B0502020202020204" pitchFamily="34" charset="0"/>
              </a:rPr>
              <a:t>10 стран-членов ЦАРЭС </a:t>
            </a:r>
            <a:r>
              <a:rPr lang="ru-RU" dirty="0">
                <a:solidFill>
                  <a:srgbClr val="C00000"/>
                </a:solidFill>
                <a:latin typeface="Century Gothic" panose="020B0502020202020204" pitchFamily="34" charset="0"/>
              </a:rPr>
              <a:t>представят перспективные инвестиционные возможности</a:t>
            </a:r>
            <a:r>
              <a:rPr lang="ru-RU" dirty="0">
                <a:solidFill>
                  <a:srgbClr val="0070C0"/>
                </a:solidFill>
                <a:latin typeface="Century Gothic" panose="020B0502020202020204" pitchFamily="34" charset="0"/>
              </a:rPr>
              <a:t>: от солнечной, ветровой и гидроэнергетики до энергоэффективности и устойчивого теплоснабжения.</a:t>
            </a:r>
            <a:endParaRPr lang="en-US" dirty="0">
              <a:solidFill>
                <a:srgbClr val="0070C0"/>
              </a:solidFill>
              <a:latin typeface="Century Gothic" panose="020B0502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FF06562-E9DB-46E3-9B03-E7FD10A6516C}"/>
              </a:ext>
            </a:extLst>
          </p:cNvPr>
          <p:cNvSpPr/>
          <p:nvPr/>
        </p:nvSpPr>
        <p:spPr>
          <a:xfrm>
            <a:off x="6110021" y="1676597"/>
            <a:ext cx="5678964" cy="1525286"/>
          </a:xfrm>
          <a:prstGeom prst="rect">
            <a:avLst/>
          </a:prstGeom>
          <a:solidFill>
            <a:schemeClr val="accent3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latin typeface="Century Gothic" panose="020B0502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56AD995-9495-C644-A6B9-B1DC688477C9}"/>
              </a:ext>
            </a:extLst>
          </p:cNvPr>
          <p:cNvSpPr/>
          <p:nvPr/>
        </p:nvSpPr>
        <p:spPr>
          <a:xfrm>
            <a:off x="6130447" y="3297563"/>
            <a:ext cx="5678964" cy="1512551"/>
          </a:xfrm>
          <a:prstGeom prst="rect">
            <a:avLst/>
          </a:prstGeom>
          <a:solidFill>
            <a:schemeClr val="accent3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Century Gothic" panose="020B050202020202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11D4689-F401-6878-22E3-4B6668832794}"/>
              </a:ext>
            </a:extLst>
          </p:cNvPr>
          <p:cNvSpPr/>
          <p:nvPr/>
        </p:nvSpPr>
        <p:spPr>
          <a:xfrm>
            <a:off x="6130447" y="4896308"/>
            <a:ext cx="5678964" cy="1512551"/>
          </a:xfrm>
          <a:prstGeom prst="rect">
            <a:avLst/>
          </a:prstGeom>
          <a:solidFill>
            <a:schemeClr val="accent3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Century Gothic" panose="020B0502020202020204" pitchFamily="34" charset="0"/>
            </a:endParaRP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31BCD6-4A16-2715-389E-1DCBB8E93B26}"/>
              </a:ext>
            </a:extLst>
          </p:cNvPr>
          <p:cNvSpPr txBox="1">
            <a:spLocks/>
          </p:cNvSpPr>
          <p:nvPr/>
        </p:nvSpPr>
        <p:spPr>
          <a:xfrm>
            <a:off x="7379686" y="3681164"/>
            <a:ext cx="4296528" cy="643885"/>
          </a:xfrm>
          <a:prstGeom prst="rect">
            <a:avLst/>
          </a:prstGeom>
          <a:noFill/>
        </p:spPr>
        <p:txBody>
          <a:bodyPr lIns="182880" tIns="0" rIns="182880" bIns="0" anchor="t">
            <a:noAutofit/>
          </a:bodyPr>
          <a:lstStyle>
            <a:lvl1pPr marL="0" indent="0" algn="ctr" defTabSz="914377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1600" dirty="0">
                <a:solidFill>
                  <a:srgbClr val="0070C0"/>
                </a:solidFill>
                <a:latin typeface="Century Gothic" panose="020B0502020202020204" pitchFamily="34" charset="0"/>
              </a:rPr>
              <a:t>В этом году мы ставим </a:t>
            </a:r>
            <a:r>
              <a:rPr lang="ru-RU" sz="1600" dirty="0">
                <a:solidFill>
                  <a:srgbClr val="C00000"/>
                </a:solidFill>
                <a:latin typeface="Century Gothic" panose="020B0502020202020204" pitchFamily="34" charset="0"/>
              </a:rPr>
              <a:t>во главу угла новые энергетические проекты</a:t>
            </a:r>
            <a:r>
              <a:rPr lang="ru-RU" sz="1600" dirty="0">
                <a:solidFill>
                  <a:srgbClr val="0070C0"/>
                </a:solidFill>
                <a:latin typeface="Century Gothic" panose="020B0502020202020204" pitchFamily="34" charset="0"/>
              </a:rPr>
              <a:t>.</a:t>
            </a:r>
            <a:endParaRPr lang="en-US" sz="1600" dirty="0">
              <a:solidFill>
                <a:srgbClr val="BC322D"/>
              </a:solidFill>
              <a:latin typeface="Century Gothic" panose="020B0502020202020204" pitchFamily="34" charset="0"/>
            </a:endParaRP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89C35CE4-3829-8211-EE7E-B76E5EFD14F0}"/>
              </a:ext>
            </a:extLst>
          </p:cNvPr>
          <p:cNvSpPr txBox="1">
            <a:spLocks/>
          </p:cNvSpPr>
          <p:nvPr/>
        </p:nvSpPr>
        <p:spPr>
          <a:xfrm>
            <a:off x="7441425" y="5047652"/>
            <a:ext cx="4296528" cy="643885"/>
          </a:xfrm>
          <a:prstGeom prst="rect">
            <a:avLst/>
          </a:prstGeom>
          <a:noFill/>
        </p:spPr>
        <p:txBody>
          <a:bodyPr lIns="182880" tIns="0" rIns="182880" bIns="0" anchor="t">
            <a:noAutofit/>
          </a:bodyPr>
          <a:lstStyle>
            <a:lvl1pPr marL="0" indent="0" algn="ctr" defTabSz="914377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dirty="0">
                <a:solidFill>
                  <a:srgbClr val="0070C0"/>
                </a:solidFill>
                <a:latin typeface="Century Gothic" panose="020B0502020202020204" pitchFamily="34" charset="0"/>
              </a:rPr>
              <a:t>В программу также включен ряд интересных </a:t>
            </a:r>
            <a:r>
              <a:rPr lang="ru-RU" dirty="0">
                <a:solidFill>
                  <a:srgbClr val="C00000"/>
                </a:solidFill>
                <a:latin typeface="Century Gothic" panose="020B0502020202020204" pitchFamily="34" charset="0"/>
              </a:rPr>
              <a:t>«интермеццо-презентаций», затрагивающих животрепещущие темы</a:t>
            </a:r>
            <a:r>
              <a:rPr lang="ru-RU" dirty="0">
                <a:solidFill>
                  <a:srgbClr val="0070C0"/>
                </a:solidFill>
                <a:latin typeface="Century Gothic" panose="020B0502020202020204" pitchFamily="34" charset="0"/>
              </a:rPr>
              <a:t>, касающиеся энергетического перехода в регионе.</a:t>
            </a:r>
            <a:endParaRPr lang="en-US" dirty="0">
              <a:solidFill>
                <a:srgbClr val="0070C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27" name="Picture 26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462BDC96-9D38-C49E-E496-856C542C8AE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015" y="3596638"/>
            <a:ext cx="914400" cy="914400"/>
          </a:xfrm>
          <a:prstGeom prst="rect">
            <a:avLst/>
          </a:prstGeom>
        </p:spPr>
      </p:pic>
      <p:pic>
        <p:nvPicPr>
          <p:cNvPr id="28" name="Picture 27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4E7FF486-4A12-4AE5-7F44-000F6241717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7478" y="3596638"/>
            <a:ext cx="914400" cy="914400"/>
          </a:xfrm>
          <a:prstGeom prst="rect">
            <a:avLst/>
          </a:prstGeom>
        </p:spPr>
      </p:pic>
      <p:pic>
        <p:nvPicPr>
          <p:cNvPr id="29" name="Picture 28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8610DC4C-C106-39AF-8EEA-1D44092FA27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7478" y="5118324"/>
            <a:ext cx="914400" cy="914400"/>
          </a:xfrm>
          <a:prstGeom prst="rect">
            <a:avLst/>
          </a:prstGeom>
        </p:spPr>
      </p:pic>
      <p:pic>
        <p:nvPicPr>
          <p:cNvPr id="30" name="Picture 29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05FD483E-33E2-9921-3A07-CCAA4D6C039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7478" y="1951408"/>
            <a:ext cx="914400" cy="914400"/>
          </a:xfrm>
          <a:prstGeom prst="rect">
            <a:avLst/>
          </a:prstGeom>
        </p:spPr>
      </p:pic>
      <p:pic>
        <p:nvPicPr>
          <p:cNvPr id="31" name="Picture 30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47A121BF-E70B-D5F1-63A1-176C5DEEF71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015" y="5118324"/>
            <a:ext cx="914400" cy="914400"/>
          </a:xfrm>
          <a:prstGeom prst="rect">
            <a:avLst/>
          </a:prstGeom>
        </p:spPr>
      </p:pic>
      <p:pic>
        <p:nvPicPr>
          <p:cNvPr id="32" name="Picture 31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62D8A9E2-871C-F43E-87BF-0DCB90B4413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015" y="1951408"/>
            <a:ext cx="914400" cy="914400"/>
          </a:xfrm>
          <a:prstGeom prst="rect">
            <a:avLst/>
          </a:prstGeom>
        </p:spPr>
      </p:pic>
      <p:sp>
        <p:nvSpPr>
          <p:cNvPr id="33" name="Title 7">
            <a:extLst>
              <a:ext uri="{FF2B5EF4-FFF2-40B4-BE49-F238E27FC236}">
                <a16:creationId xmlns:a16="http://schemas.microsoft.com/office/drawing/2014/main" id="{2692C62E-9B39-63B8-1132-428D3F3F10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8340" y="309099"/>
            <a:ext cx="10506456" cy="1119116"/>
          </a:xfrm>
        </p:spPr>
        <p:txBody>
          <a:bodyPr vert="horz" anchor="ctr">
            <a:normAutofit/>
          </a:bodyPr>
          <a:lstStyle/>
          <a:p>
            <a:r>
              <a:rPr lang="ru-RU" sz="4000" b="1" dirty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rPr>
              <a:t>Цель</a:t>
            </a:r>
            <a:endParaRPr lang="en-US" sz="4000" b="1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33254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E9E38B2-F366-0632-198E-3F040A36B7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3301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9E38B2-F366-0632-198E-3F040A36B7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71AAFB-1570-A76A-76E6-A95FEF87A1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4711B-2BBD-4434-9CFE-8F1E27B5618A}" type="slidenum">
              <a:rPr lang="en-US" smtClean="0"/>
              <a:t>4</a:t>
            </a:fld>
            <a:endParaRPr lang="en-US"/>
          </a:p>
        </p:txBody>
      </p:sp>
      <p:sp>
        <p:nvSpPr>
          <p:cNvPr id="6" name="ïsḷíḓè">
            <a:extLst>
              <a:ext uri="{FF2B5EF4-FFF2-40B4-BE49-F238E27FC236}">
                <a16:creationId xmlns:a16="http://schemas.microsoft.com/office/drawing/2014/main" id="{3BC0A284-3DF3-97DA-1444-7E85F0C7EB4B}"/>
              </a:ext>
            </a:extLst>
          </p:cNvPr>
          <p:cNvSpPr/>
          <p:nvPr/>
        </p:nvSpPr>
        <p:spPr>
          <a:xfrm>
            <a:off x="3313087" y="1482893"/>
            <a:ext cx="3932715" cy="44038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b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chemeClr val="tx1"/>
                </a:solidFill>
              </a:rPr>
              <a:t>Модератором</a:t>
            </a:r>
            <a:r>
              <a:rPr lang="ru-RU" sz="1600" dirty="0">
                <a:solidFill>
                  <a:schemeClr val="tx1"/>
                </a:solidFill>
              </a:rPr>
              <a:t> форума выступит </a:t>
            </a:r>
            <a:r>
              <a:rPr lang="ru-RU" sz="1600" b="1" dirty="0">
                <a:solidFill>
                  <a:schemeClr val="tx1"/>
                </a:solidFill>
              </a:rPr>
              <a:t>Ниша </a:t>
            </a:r>
            <a:r>
              <a:rPr lang="ru-RU" sz="1600" b="1" dirty="0" err="1">
                <a:solidFill>
                  <a:schemeClr val="tx1"/>
                </a:solidFill>
              </a:rPr>
              <a:t>Пиллай</a:t>
            </a:r>
            <a:r>
              <a:rPr lang="ru-RU" sz="1600" dirty="0">
                <a:solidFill>
                  <a:schemeClr val="tx1"/>
                </a:solidFill>
              </a:rPr>
              <a:t>, бывшая ведущая BBC </a:t>
            </a:r>
            <a:r>
              <a:rPr lang="ru-RU" sz="1600" dirty="0" err="1">
                <a:solidFill>
                  <a:schemeClr val="tx1"/>
                </a:solidFill>
              </a:rPr>
              <a:t>World</a:t>
            </a:r>
            <a:r>
              <a:rPr lang="ru-RU" sz="1600" dirty="0">
                <a:solidFill>
                  <a:schemeClr val="tx1"/>
                </a:solidFill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chemeClr val="tx1"/>
                </a:solidFill>
              </a:rPr>
              <a:t>Свое участие подтвердили </a:t>
            </a:r>
            <a:r>
              <a:rPr lang="ru-RU" sz="1600" dirty="0">
                <a:solidFill>
                  <a:schemeClr val="tx1"/>
                </a:solidFill>
              </a:rPr>
              <a:t>большинство ключевых внешних и внутренних докладчиков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chemeClr val="tx1"/>
                </a:solidFill>
              </a:rPr>
              <a:t>Запланированы два круглых стола</a:t>
            </a:r>
            <a:r>
              <a:rPr lang="ru-RU" sz="1600" dirty="0">
                <a:solidFill>
                  <a:schemeClr val="tx1"/>
                </a:solidFill>
              </a:rPr>
              <a:t>: </a:t>
            </a:r>
            <a:r>
              <a:rPr lang="en-US" sz="1600" dirty="0">
                <a:solidFill>
                  <a:schemeClr val="tx1"/>
                </a:solidFill>
              </a:rPr>
              <a:t>(i) </a:t>
            </a:r>
            <a:r>
              <a:rPr lang="ru-RU" sz="1600" dirty="0">
                <a:solidFill>
                  <a:schemeClr val="tx1"/>
                </a:solidFill>
              </a:rPr>
              <a:t>с частным сектором</a:t>
            </a:r>
            <a:r>
              <a:rPr lang="en-US" sz="1600" dirty="0">
                <a:solidFill>
                  <a:schemeClr val="tx1"/>
                </a:solidFill>
              </a:rPr>
              <a:t>,</a:t>
            </a:r>
            <a:r>
              <a:rPr lang="ru-RU" sz="1600" dirty="0">
                <a:solidFill>
                  <a:schemeClr val="tx1"/>
                </a:solidFill>
              </a:rPr>
              <a:t> и </a:t>
            </a:r>
            <a:r>
              <a:rPr lang="en-US" sz="1600" dirty="0">
                <a:solidFill>
                  <a:schemeClr val="tx1"/>
                </a:solidFill>
              </a:rPr>
              <a:t>(ii) </a:t>
            </a:r>
            <a:r>
              <a:rPr lang="ru-RU" sz="1600" dirty="0">
                <a:solidFill>
                  <a:schemeClr val="tx1"/>
                </a:solidFill>
              </a:rPr>
              <a:t>с партнерами по развитию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/>
                </a:solidFill>
              </a:rPr>
              <a:t>Все </a:t>
            </a:r>
            <a:r>
              <a:rPr lang="ru-RU" sz="1600" b="1" dirty="0">
                <a:solidFill>
                  <a:schemeClr val="tx1"/>
                </a:solidFill>
              </a:rPr>
              <a:t>делегации Правительств стран ЦАРЭС представят 10-15-</a:t>
            </a:r>
            <a:r>
              <a:rPr lang="ru-RU" sz="1600" dirty="0">
                <a:solidFill>
                  <a:schemeClr val="tx1"/>
                </a:solidFill>
              </a:rPr>
              <a:t>минутные</a:t>
            </a:r>
            <a:r>
              <a:rPr lang="ru-RU" sz="1600" b="1" dirty="0">
                <a:solidFill>
                  <a:schemeClr val="tx1"/>
                </a:solidFill>
              </a:rPr>
              <a:t> </a:t>
            </a:r>
            <a:r>
              <a:rPr lang="ru-RU" sz="1600" dirty="0">
                <a:solidFill>
                  <a:schemeClr val="tx1"/>
                </a:solidFill>
              </a:rPr>
              <a:t>презентации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/>
                </a:solidFill>
              </a:rPr>
              <a:t>Интермеццо-презентаций, чтобы придать форуму дополнительный колорит и сделать его более интересным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chemeClr val="tx1"/>
                </a:solidFill>
              </a:rPr>
              <a:t>Форум с встречами для подбора партнеров пройдет во второй день</a:t>
            </a:r>
            <a:endParaRPr lang="en-US" sz="1600" b="1" dirty="0">
              <a:solidFill>
                <a:schemeClr val="tx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A29746A-05E3-AF0D-5EE5-A06D8F45208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7000" t="6251" r="65519" b="30131"/>
          <a:stretch/>
        </p:blipFill>
        <p:spPr>
          <a:xfrm>
            <a:off x="171969" y="1330240"/>
            <a:ext cx="2985228" cy="2221343"/>
          </a:xfrm>
          <a:prstGeom prst="rect">
            <a:avLst/>
          </a:prstGeom>
        </p:spPr>
      </p:pic>
      <p:cxnSp>
        <p:nvCxnSpPr>
          <p:cNvPr id="9" name="í$lïḍé">
            <a:extLst>
              <a:ext uri="{FF2B5EF4-FFF2-40B4-BE49-F238E27FC236}">
                <a16:creationId xmlns:a16="http://schemas.microsoft.com/office/drawing/2014/main" id="{517501E7-4FB6-227A-5FC3-9ACFEFEA4B28}"/>
              </a:ext>
            </a:extLst>
          </p:cNvPr>
          <p:cNvCxnSpPr>
            <a:cxnSpLocks/>
          </p:cNvCxnSpPr>
          <p:nvPr/>
        </p:nvCxnSpPr>
        <p:spPr>
          <a:xfrm>
            <a:off x="4062658" y="6273153"/>
            <a:ext cx="7804664" cy="23563"/>
          </a:xfrm>
          <a:prstGeom prst="line">
            <a:avLst/>
          </a:prstGeom>
          <a:ln w="254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îs1ïďè">
            <a:extLst>
              <a:ext uri="{FF2B5EF4-FFF2-40B4-BE49-F238E27FC236}">
                <a16:creationId xmlns:a16="http://schemas.microsoft.com/office/drawing/2014/main" id="{3C24190D-6B9C-9709-1CFB-E4ABFCFDB483}"/>
              </a:ext>
            </a:extLst>
          </p:cNvPr>
          <p:cNvGrpSpPr/>
          <p:nvPr/>
        </p:nvGrpSpPr>
        <p:grpSpPr>
          <a:xfrm>
            <a:off x="5471968" y="6057129"/>
            <a:ext cx="432048" cy="432048"/>
            <a:chOff x="4264950" y="5651169"/>
            <a:chExt cx="432048" cy="432048"/>
          </a:xfrm>
        </p:grpSpPr>
        <p:sp>
          <p:nvSpPr>
            <p:cNvPr id="11" name="ïṩlîďe">
              <a:extLst>
                <a:ext uri="{FF2B5EF4-FFF2-40B4-BE49-F238E27FC236}">
                  <a16:creationId xmlns:a16="http://schemas.microsoft.com/office/drawing/2014/main" id="{3FBAB795-E467-B03A-D636-1B263319CCA2}"/>
                </a:ext>
              </a:extLst>
            </p:cNvPr>
            <p:cNvSpPr/>
            <p:nvPr/>
          </p:nvSpPr>
          <p:spPr>
            <a:xfrm>
              <a:off x="4264950" y="5651169"/>
              <a:ext cx="432048" cy="43204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iślïdé">
              <a:extLst>
                <a:ext uri="{FF2B5EF4-FFF2-40B4-BE49-F238E27FC236}">
                  <a16:creationId xmlns:a16="http://schemas.microsoft.com/office/drawing/2014/main" id="{622F799C-1E3B-9D39-1EBE-9931724C93D1}"/>
                </a:ext>
              </a:extLst>
            </p:cNvPr>
            <p:cNvSpPr/>
            <p:nvPr/>
          </p:nvSpPr>
          <p:spPr>
            <a:xfrm>
              <a:off x="4401650" y="5796308"/>
              <a:ext cx="158649" cy="158649"/>
            </a:xfrm>
            <a:prstGeom prst="chevron">
              <a:avLst/>
            </a:prstGeom>
            <a:solidFill>
              <a:schemeClr val="bg1"/>
            </a:solidFill>
            <a:ln w="6055" cap="flat">
              <a:noFill/>
              <a:prstDash val="solid"/>
              <a:miter/>
            </a:ln>
          </p:spPr>
          <p:txBody>
            <a:bodyPr lIns="108000" tIns="108000" rIns="108000" bIns="108000" rtlCol="0" anchor="ctr"/>
            <a:lstStyle/>
            <a:p>
              <a:endParaRPr lang="zh-CN" alt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3" name="í$ľîḑè">
            <a:extLst>
              <a:ext uri="{FF2B5EF4-FFF2-40B4-BE49-F238E27FC236}">
                <a16:creationId xmlns:a16="http://schemas.microsoft.com/office/drawing/2014/main" id="{14AF69FA-0A75-BA39-FFA5-D500534B723F}"/>
              </a:ext>
            </a:extLst>
          </p:cNvPr>
          <p:cNvGrpSpPr/>
          <p:nvPr/>
        </p:nvGrpSpPr>
        <p:grpSpPr>
          <a:xfrm>
            <a:off x="11181480" y="6057129"/>
            <a:ext cx="432048" cy="432048"/>
            <a:chOff x="4264950" y="5651169"/>
            <a:chExt cx="432048" cy="432048"/>
          </a:xfrm>
        </p:grpSpPr>
        <p:sp>
          <p:nvSpPr>
            <p:cNvPr id="14" name="í$ľíḑè">
              <a:extLst>
                <a:ext uri="{FF2B5EF4-FFF2-40B4-BE49-F238E27FC236}">
                  <a16:creationId xmlns:a16="http://schemas.microsoft.com/office/drawing/2014/main" id="{4C0625B8-BD84-36F4-891F-45F6FC0B275F}"/>
                </a:ext>
              </a:extLst>
            </p:cNvPr>
            <p:cNvSpPr/>
            <p:nvPr/>
          </p:nvSpPr>
          <p:spPr>
            <a:xfrm>
              <a:off x="4264950" y="5651169"/>
              <a:ext cx="432048" cy="43204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ísḻiḍê">
              <a:extLst>
                <a:ext uri="{FF2B5EF4-FFF2-40B4-BE49-F238E27FC236}">
                  <a16:creationId xmlns:a16="http://schemas.microsoft.com/office/drawing/2014/main" id="{064A02FB-66C1-EE14-C5BD-5605F8ADB252}"/>
                </a:ext>
              </a:extLst>
            </p:cNvPr>
            <p:cNvSpPr/>
            <p:nvPr/>
          </p:nvSpPr>
          <p:spPr>
            <a:xfrm>
              <a:off x="4401650" y="5796308"/>
              <a:ext cx="158649" cy="158649"/>
            </a:xfrm>
            <a:prstGeom prst="chevron">
              <a:avLst/>
            </a:prstGeom>
            <a:solidFill>
              <a:schemeClr val="bg1"/>
            </a:solidFill>
            <a:ln w="6055" cap="flat">
              <a:noFill/>
              <a:prstDash val="solid"/>
              <a:miter/>
            </a:ln>
          </p:spPr>
          <p:txBody>
            <a:bodyPr lIns="108000" tIns="108000" rIns="108000" bIns="108000" rtlCol="0" anchor="ctr"/>
            <a:lstStyle/>
            <a:p>
              <a:endParaRPr lang="zh-CN" altLang="en-US">
                <a:solidFill>
                  <a:schemeClr val="tx1"/>
                </a:solidFill>
              </a:endParaRPr>
            </a:p>
          </p:txBody>
        </p:sp>
      </p:grpSp>
      <p:sp>
        <p:nvSpPr>
          <p:cNvPr id="17" name="Title 7">
            <a:extLst>
              <a:ext uri="{FF2B5EF4-FFF2-40B4-BE49-F238E27FC236}">
                <a16:creationId xmlns:a16="http://schemas.microsoft.com/office/drawing/2014/main" id="{6F0ABB95-227F-708A-C8F0-0E1C6229E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740" y="173235"/>
            <a:ext cx="10506456" cy="1157005"/>
          </a:xfrm>
        </p:spPr>
        <p:txBody>
          <a:bodyPr vert="horz" anchor="ctr">
            <a:normAutofit/>
          </a:bodyPr>
          <a:lstStyle/>
          <a:p>
            <a:r>
              <a:rPr lang="ru-RU" sz="3200" b="1" dirty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rPr>
              <a:t>Статус 6го Энергетического инвестиционного форума ЦАРЭС</a:t>
            </a:r>
            <a:endParaRPr lang="en-US" sz="3200" b="1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3" name="ïsḷíḓè">
            <a:extLst>
              <a:ext uri="{FF2B5EF4-FFF2-40B4-BE49-F238E27FC236}">
                <a16:creationId xmlns:a16="http://schemas.microsoft.com/office/drawing/2014/main" id="{545247DD-0982-3C32-9273-6F0D492F44AA}"/>
              </a:ext>
            </a:extLst>
          </p:cNvPr>
          <p:cNvSpPr/>
          <p:nvPr/>
        </p:nvSpPr>
        <p:spPr>
          <a:xfrm>
            <a:off x="8295860" y="1563975"/>
            <a:ext cx="3714055" cy="39114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b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ru-RU" altLang="zh-CN" sz="1600" dirty="0">
                <a:solidFill>
                  <a:schemeClr val="tx1"/>
                </a:solidFill>
              </a:rPr>
              <a:t>Наша цель - </a:t>
            </a:r>
            <a:r>
              <a:rPr kumimoji="1" lang="ru-RU" altLang="zh-CN" sz="1600" b="1" dirty="0">
                <a:solidFill>
                  <a:schemeClr val="tx1"/>
                </a:solidFill>
              </a:rPr>
              <a:t>наладить связь между разработчиками, банками развития и правительствами стран ЦАРЭС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ru-RU" altLang="zh-CN" sz="1600" b="1" dirty="0">
                <a:solidFill>
                  <a:schemeClr val="tx1"/>
                </a:solidFill>
              </a:rPr>
              <a:t>Для каждой страны будет организован отдельный стенд</a:t>
            </a:r>
            <a:r>
              <a:rPr kumimoji="1" lang="ru-RU" altLang="zh-CN" sz="1600" dirty="0">
                <a:solidFill>
                  <a:schemeClr val="tx1"/>
                </a:solidFill>
              </a:rPr>
              <a:t>. На каждом стенде будут присутствовать представители правительства и, возможно, другие заинтересованные стороны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ru-RU" altLang="zh-CN" sz="1600" dirty="0">
                <a:solidFill>
                  <a:schemeClr val="tx1"/>
                </a:solidFill>
              </a:rPr>
              <a:t>Участники будут перемещаться группами (10 групп), переходя от одного стенда к другому каждые 15 минут. Звонок будет служить сигналом к тому, что пора переходить к следующему стенду.</a:t>
            </a:r>
            <a:endParaRPr kumimoji="1" lang="en-US" altLang="zh-CN" sz="1600" dirty="0">
              <a:solidFill>
                <a:schemeClr val="tx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FBA2E48-315E-5854-52C0-E53B7CFEAC7E}"/>
              </a:ext>
            </a:extLst>
          </p:cNvPr>
          <p:cNvSpPr txBox="1"/>
          <p:nvPr/>
        </p:nvSpPr>
        <p:spPr>
          <a:xfrm>
            <a:off x="3312910" y="1194643"/>
            <a:ext cx="30811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u="sng" dirty="0">
                <a:latin typeface="Century Gothic" panose="020B0502020202020204" pitchFamily="34" charset="0"/>
              </a:rPr>
              <a:t>Статус</a:t>
            </a:r>
            <a:r>
              <a:rPr lang="en-US" u="sng" dirty="0">
                <a:latin typeface="Century Gothic" panose="020B0502020202020204" pitchFamily="34" charset="0"/>
              </a:rPr>
              <a:t>: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4CC1FD8-6FB8-B513-1548-464B4C3E5F85}"/>
              </a:ext>
            </a:extLst>
          </p:cNvPr>
          <p:cNvSpPr txBox="1"/>
          <p:nvPr/>
        </p:nvSpPr>
        <p:spPr>
          <a:xfrm>
            <a:off x="7820487" y="1205208"/>
            <a:ext cx="36563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/>
            <a:r>
              <a:rPr lang="ru-RU" u="sng" dirty="0">
                <a:latin typeface="Century Gothic" panose="020B0502020202020204" pitchFamily="34" charset="0"/>
              </a:rPr>
              <a:t>Подбор партнеров</a:t>
            </a:r>
            <a:r>
              <a:rPr lang="en-US" u="sng" dirty="0">
                <a:latin typeface="Century Gothic" panose="020B0502020202020204" pitchFamily="34" charset="0"/>
              </a:rPr>
              <a:t>:</a:t>
            </a:r>
          </a:p>
        </p:txBody>
      </p:sp>
      <p:pic>
        <p:nvPicPr>
          <p:cNvPr id="27" name="Picture 26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59A411EF-ADAC-A203-5FDC-5E82C178D59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3631" y="1379309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56027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E9E38B2-F366-0632-198E-3F040A36B7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0297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9E38B2-F366-0632-198E-3F040A36B7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71AAFB-1570-A76A-76E6-A95FEF87A1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4711B-2BBD-4434-9CFE-8F1E27B5618A}" type="slidenum">
              <a:rPr lang="en-US" smtClean="0"/>
              <a:t>5</a:t>
            </a:fld>
            <a:endParaRPr lang="en-US"/>
          </a:p>
        </p:txBody>
      </p:sp>
      <p:cxnSp>
        <p:nvCxnSpPr>
          <p:cNvPr id="9" name="í$lïḍé">
            <a:extLst>
              <a:ext uri="{FF2B5EF4-FFF2-40B4-BE49-F238E27FC236}">
                <a16:creationId xmlns:a16="http://schemas.microsoft.com/office/drawing/2014/main" id="{517501E7-4FB6-227A-5FC3-9ACFEFEA4B28}"/>
              </a:ext>
            </a:extLst>
          </p:cNvPr>
          <p:cNvCxnSpPr>
            <a:cxnSpLocks/>
          </p:cNvCxnSpPr>
          <p:nvPr/>
        </p:nvCxnSpPr>
        <p:spPr>
          <a:xfrm>
            <a:off x="4062658" y="6273153"/>
            <a:ext cx="7804664" cy="23563"/>
          </a:xfrm>
          <a:prstGeom prst="line">
            <a:avLst/>
          </a:prstGeom>
          <a:ln w="254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îs1ïďè">
            <a:extLst>
              <a:ext uri="{FF2B5EF4-FFF2-40B4-BE49-F238E27FC236}">
                <a16:creationId xmlns:a16="http://schemas.microsoft.com/office/drawing/2014/main" id="{3C24190D-6B9C-9709-1CFB-E4ABFCFDB483}"/>
              </a:ext>
            </a:extLst>
          </p:cNvPr>
          <p:cNvGrpSpPr/>
          <p:nvPr/>
        </p:nvGrpSpPr>
        <p:grpSpPr>
          <a:xfrm>
            <a:off x="5471968" y="6057129"/>
            <a:ext cx="432048" cy="432048"/>
            <a:chOff x="4264950" y="5651169"/>
            <a:chExt cx="432048" cy="432048"/>
          </a:xfrm>
        </p:grpSpPr>
        <p:sp>
          <p:nvSpPr>
            <p:cNvPr id="11" name="ïṩlîďe">
              <a:extLst>
                <a:ext uri="{FF2B5EF4-FFF2-40B4-BE49-F238E27FC236}">
                  <a16:creationId xmlns:a16="http://schemas.microsoft.com/office/drawing/2014/main" id="{3FBAB795-E467-B03A-D636-1B263319CCA2}"/>
                </a:ext>
              </a:extLst>
            </p:cNvPr>
            <p:cNvSpPr/>
            <p:nvPr/>
          </p:nvSpPr>
          <p:spPr>
            <a:xfrm>
              <a:off x="4264950" y="5651169"/>
              <a:ext cx="432048" cy="43204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iślïdé">
              <a:extLst>
                <a:ext uri="{FF2B5EF4-FFF2-40B4-BE49-F238E27FC236}">
                  <a16:creationId xmlns:a16="http://schemas.microsoft.com/office/drawing/2014/main" id="{622F799C-1E3B-9D39-1EBE-9931724C93D1}"/>
                </a:ext>
              </a:extLst>
            </p:cNvPr>
            <p:cNvSpPr/>
            <p:nvPr/>
          </p:nvSpPr>
          <p:spPr>
            <a:xfrm>
              <a:off x="4401650" y="5796308"/>
              <a:ext cx="158649" cy="158649"/>
            </a:xfrm>
            <a:prstGeom prst="chevron">
              <a:avLst/>
            </a:prstGeom>
            <a:solidFill>
              <a:schemeClr val="bg1"/>
            </a:solidFill>
            <a:ln w="6055" cap="flat">
              <a:noFill/>
              <a:prstDash val="solid"/>
              <a:miter/>
            </a:ln>
          </p:spPr>
          <p:txBody>
            <a:bodyPr lIns="108000" tIns="108000" rIns="108000" bIns="108000" rtlCol="0" anchor="ctr"/>
            <a:lstStyle/>
            <a:p>
              <a:endParaRPr lang="zh-CN" alt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3" name="í$ľîḑè">
            <a:extLst>
              <a:ext uri="{FF2B5EF4-FFF2-40B4-BE49-F238E27FC236}">
                <a16:creationId xmlns:a16="http://schemas.microsoft.com/office/drawing/2014/main" id="{14AF69FA-0A75-BA39-FFA5-D500534B723F}"/>
              </a:ext>
            </a:extLst>
          </p:cNvPr>
          <p:cNvGrpSpPr/>
          <p:nvPr/>
        </p:nvGrpSpPr>
        <p:grpSpPr>
          <a:xfrm>
            <a:off x="11181480" y="6057129"/>
            <a:ext cx="432048" cy="432048"/>
            <a:chOff x="4264950" y="5651169"/>
            <a:chExt cx="432048" cy="432048"/>
          </a:xfrm>
        </p:grpSpPr>
        <p:sp>
          <p:nvSpPr>
            <p:cNvPr id="14" name="í$ľíḑè">
              <a:extLst>
                <a:ext uri="{FF2B5EF4-FFF2-40B4-BE49-F238E27FC236}">
                  <a16:creationId xmlns:a16="http://schemas.microsoft.com/office/drawing/2014/main" id="{4C0625B8-BD84-36F4-891F-45F6FC0B275F}"/>
                </a:ext>
              </a:extLst>
            </p:cNvPr>
            <p:cNvSpPr/>
            <p:nvPr/>
          </p:nvSpPr>
          <p:spPr>
            <a:xfrm>
              <a:off x="4264950" y="5651169"/>
              <a:ext cx="432048" cy="43204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ísḻiḍê">
              <a:extLst>
                <a:ext uri="{FF2B5EF4-FFF2-40B4-BE49-F238E27FC236}">
                  <a16:creationId xmlns:a16="http://schemas.microsoft.com/office/drawing/2014/main" id="{064A02FB-66C1-EE14-C5BD-5605F8ADB252}"/>
                </a:ext>
              </a:extLst>
            </p:cNvPr>
            <p:cNvSpPr/>
            <p:nvPr/>
          </p:nvSpPr>
          <p:spPr>
            <a:xfrm>
              <a:off x="4401650" y="5796308"/>
              <a:ext cx="158649" cy="158649"/>
            </a:xfrm>
            <a:prstGeom prst="chevron">
              <a:avLst/>
            </a:prstGeom>
            <a:solidFill>
              <a:schemeClr val="bg1"/>
            </a:solidFill>
            <a:ln w="6055" cap="flat">
              <a:noFill/>
              <a:prstDash val="solid"/>
              <a:miter/>
            </a:ln>
          </p:spPr>
          <p:txBody>
            <a:bodyPr lIns="108000" tIns="108000" rIns="108000" bIns="108000" rtlCol="0" anchor="ctr"/>
            <a:lstStyle/>
            <a:p>
              <a:endParaRPr lang="zh-CN" altLang="en-US">
                <a:solidFill>
                  <a:schemeClr val="tx1"/>
                </a:solidFill>
              </a:endParaRPr>
            </a:p>
          </p:txBody>
        </p:sp>
      </p:grpSp>
      <p:sp>
        <p:nvSpPr>
          <p:cNvPr id="17" name="Title 7">
            <a:extLst>
              <a:ext uri="{FF2B5EF4-FFF2-40B4-BE49-F238E27FC236}">
                <a16:creationId xmlns:a16="http://schemas.microsoft.com/office/drawing/2014/main" id="{6F0ABB95-227F-708A-C8F0-0E1C6229E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740" y="173236"/>
            <a:ext cx="10506456" cy="530150"/>
          </a:xfrm>
        </p:spPr>
        <p:txBody>
          <a:bodyPr vert="horz" anchor="ctr">
            <a:normAutofit fontScale="90000"/>
          </a:bodyPr>
          <a:lstStyle/>
          <a:p>
            <a:r>
              <a:rPr lang="ru-RU" sz="3200" b="1" dirty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rPr>
              <a:t>Ожидания правительств стран ЦАРЭС</a:t>
            </a:r>
            <a:endParaRPr lang="en-US" sz="3200" b="1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F6C22850-FEBA-2936-9186-420BA9D05A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06995" y="703386"/>
            <a:ext cx="6553328" cy="5785791"/>
          </a:xfrm>
        </p:spPr>
        <p:txBody>
          <a:bodyPr anchor="ctr">
            <a:noAutofit/>
          </a:bodyPr>
          <a:lstStyle/>
          <a:p>
            <a:r>
              <a:rPr lang="ru-RU" sz="2000" dirty="0"/>
              <a:t>Каждой стране-члену ЦАРЭС будет предоставлено </a:t>
            </a:r>
            <a:r>
              <a:rPr lang="ru-RU" sz="2000" b="1" dirty="0"/>
              <a:t>15 минут для презентации инвестиционных возможностей </a:t>
            </a:r>
            <a:r>
              <a:rPr lang="ru-RU" sz="2000" dirty="0"/>
              <a:t>в стране.</a:t>
            </a:r>
          </a:p>
          <a:p>
            <a:r>
              <a:rPr lang="ru-RU" sz="2000" dirty="0"/>
              <a:t>Странам-членам ЦАРЭС было предложено подготовить </a:t>
            </a:r>
            <a:r>
              <a:rPr lang="ru-RU" sz="2000" b="1" dirty="0"/>
              <a:t>2 или более проектов, готовых к инвестированию</a:t>
            </a:r>
            <a:r>
              <a:rPr lang="ru-RU" sz="2000" dirty="0"/>
              <a:t>. Они будут представлены в презентации.</a:t>
            </a:r>
          </a:p>
          <a:p>
            <a:r>
              <a:rPr lang="ru-RU" sz="2000" b="1" dirty="0">
                <a:solidFill>
                  <a:srgbClr val="C00000"/>
                </a:solidFill>
              </a:rPr>
              <a:t>Крайний срок</a:t>
            </a:r>
            <a:r>
              <a:rPr lang="ru-RU" sz="2000" dirty="0"/>
              <a:t> для отправки презентации и информации о проекте – </a:t>
            </a:r>
            <a:r>
              <a:rPr lang="ru-RU" sz="2000" b="1" dirty="0">
                <a:solidFill>
                  <a:srgbClr val="C00000"/>
                </a:solidFill>
              </a:rPr>
              <a:t>20 октября</a:t>
            </a:r>
            <a:r>
              <a:rPr lang="ru-RU" sz="2000" dirty="0"/>
              <a:t>. </a:t>
            </a:r>
            <a:r>
              <a:rPr lang="ru-RU" sz="2000" i="1" dirty="0"/>
              <a:t>(Мы с удовольствием поможем делегатам правительства сделать презентацию как можно более </a:t>
            </a:r>
            <a:r>
              <a:rPr lang="kk-KZ" sz="2000" i="1" dirty="0" err="1"/>
              <a:t>привлекательной</a:t>
            </a:r>
            <a:r>
              <a:rPr lang="kk-KZ" sz="2000" i="1" dirty="0"/>
              <a:t>)</a:t>
            </a:r>
            <a:r>
              <a:rPr lang="en-US" sz="2000" i="1" dirty="0"/>
              <a:t>.</a:t>
            </a:r>
          </a:p>
          <a:p>
            <a:r>
              <a:rPr lang="ru-RU" sz="2000" b="1" dirty="0"/>
              <a:t>Убедительная просьба связаться с делегатами от ваших стран по поводу этой презентации и информации о проектах</a:t>
            </a:r>
            <a:r>
              <a:rPr lang="en-US" sz="2000" b="1" dirty="0"/>
              <a:t>.</a:t>
            </a:r>
          </a:p>
          <a:p>
            <a:r>
              <a:rPr lang="ru-RU" sz="2000" i="1" dirty="0"/>
              <a:t>Кроме того, в сентябре были разосланы приглашения на участие в ЭИФ ЦАРЭС. К настоящему </a:t>
            </a:r>
            <a:r>
              <a:rPr lang="ru-RU" sz="2000" b="1" i="1" dirty="0">
                <a:solidFill>
                  <a:srgbClr val="C00000"/>
                </a:solidFill>
              </a:rPr>
              <a:t>времени только </a:t>
            </a:r>
            <a:r>
              <a:rPr lang="en-US" sz="2000" b="1" i="1" dirty="0">
                <a:solidFill>
                  <a:srgbClr val="C00000"/>
                </a:solidFill>
              </a:rPr>
              <a:t>8</a:t>
            </a:r>
            <a:r>
              <a:rPr lang="ru-RU" sz="2000" b="1" i="1" dirty="0">
                <a:solidFill>
                  <a:srgbClr val="C00000"/>
                </a:solidFill>
              </a:rPr>
              <a:t> страны прислали своих номинантов</a:t>
            </a:r>
            <a:r>
              <a:rPr lang="en-US" sz="2000" b="1" i="1" dirty="0">
                <a:solidFill>
                  <a:srgbClr val="C00000"/>
                </a:solidFill>
              </a:rPr>
              <a:t>.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C306526-B936-5495-7646-B7394AF1397B}"/>
              </a:ext>
            </a:extLst>
          </p:cNvPr>
          <p:cNvSpPr txBox="1"/>
          <p:nvPr/>
        </p:nvSpPr>
        <p:spPr>
          <a:xfrm>
            <a:off x="8128415" y="2164866"/>
            <a:ext cx="3744594" cy="345118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latin typeface="Century Gothic" panose="020B0502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ru-RU" b="1" dirty="0"/>
              <a:t>Для форуму по подбору партнеров во второй день </a:t>
            </a:r>
          </a:p>
          <a:p>
            <a:pPr marL="0" indent="0">
              <a:buNone/>
            </a:pPr>
            <a:r>
              <a:rPr lang="ru-RU" b="1" dirty="0"/>
              <a:t>(29 ноября)</a:t>
            </a:r>
            <a:r>
              <a:rPr lang="en-US" dirty="0"/>
              <a:t>:</a:t>
            </a:r>
          </a:p>
          <a:p>
            <a:r>
              <a:rPr lang="ru-RU" dirty="0"/>
              <a:t>Мы были бы признательны, если бы каждая страна-участница привезла с собой несколько брошюр, листовок или других подобных материалов, которые можно было бы раздавать на каждой станции. Например, информационное пособие об инвестировании в страну А или что-то подобное.</a:t>
            </a:r>
            <a:endParaRPr lang="en-US" dirty="0"/>
          </a:p>
        </p:txBody>
      </p:sp>
      <p:pic>
        <p:nvPicPr>
          <p:cNvPr id="28" name="Picture 27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D11689D5-1943-F67F-51F6-37F99070635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595" y="1546864"/>
            <a:ext cx="914400" cy="914400"/>
          </a:xfrm>
          <a:prstGeom prst="rect">
            <a:avLst/>
          </a:prstGeom>
        </p:spPr>
      </p:pic>
      <p:pic>
        <p:nvPicPr>
          <p:cNvPr id="30" name="Picture 29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DC98A97E-9960-C63F-CB89-07216E48223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595" y="2829127"/>
            <a:ext cx="914400" cy="914400"/>
          </a:xfrm>
          <a:prstGeom prst="rect">
            <a:avLst/>
          </a:prstGeom>
        </p:spPr>
      </p:pic>
      <p:pic>
        <p:nvPicPr>
          <p:cNvPr id="32" name="Picture 31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BEA0F268-1A46-E3DB-CA74-8473F3BE146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6200" y="722557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585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E9E38B2-F366-0632-198E-3F040A36B7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4738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9E38B2-F366-0632-198E-3F040A36B7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71AAFB-1570-A76A-76E6-A95FEF87A1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4711B-2BBD-4434-9CFE-8F1E27B5618A}" type="slidenum">
              <a:rPr lang="en-US" smtClean="0"/>
              <a:t>6</a:t>
            </a:fld>
            <a:endParaRPr lang="en-US"/>
          </a:p>
        </p:txBody>
      </p:sp>
      <p:cxnSp>
        <p:nvCxnSpPr>
          <p:cNvPr id="9" name="í$lïḍé">
            <a:extLst>
              <a:ext uri="{FF2B5EF4-FFF2-40B4-BE49-F238E27FC236}">
                <a16:creationId xmlns:a16="http://schemas.microsoft.com/office/drawing/2014/main" id="{517501E7-4FB6-227A-5FC3-9ACFEFEA4B28}"/>
              </a:ext>
            </a:extLst>
          </p:cNvPr>
          <p:cNvCxnSpPr>
            <a:cxnSpLocks/>
          </p:cNvCxnSpPr>
          <p:nvPr/>
        </p:nvCxnSpPr>
        <p:spPr>
          <a:xfrm>
            <a:off x="4062658" y="6273153"/>
            <a:ext cx="7804664" cy="23563"/>
          </a:xfrm>
          <a:prstGeom prst="line">
            <a:avLst/>
          </a:prstGeom>
          <a:ln w="254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îs1ïďè">
            <a:extLst>
              <a:ext uri="{FF2B5EF4-FFF2-40B4-BE49-F238E27FC236}">
                <a16:creationId xmlns:a16="http://schemas.microsoft.com/office/drawing/2014/main" id="{3C24190D-6B9C-9709-1CFB-E4ABFCFDB483}"/>
              </a:ext>
            </a:extLst>
          </p:cNvPr>
          <p:cNvGrpSpPr/>
          <p:nvPr/>
        </p:nvGrpSpPr>
        <p:grpSpPr>
          <a:xfrm>
            <a:off x="5471968" y="6057129"/>
            <a:ext cx="432048" cy="432048"/>
            <a:chOff x="4264950" y="5651169"/>
            <a:chExt cx="432048" cy="432048"/>
          </a:xfrm>
        </p:grpSpPr>
        <p:sp>
          <p:nvSpPr>
            <p:cNvPr id="11" name="ïṩlîďe">
              <a:extLst>
                <a:ext uri="{FF2B5EF4-FFF2-40B4-BE49-F238E27FC236}">
                  <a16:creationId xmlns:a16="http://schemas.microsoft.com/office/drawing/2014/main" id="{3FBAB795-E467-B03A-D636-1B263319CCA2}"/>
                </a:ext>
              </a:extLst>
            </p:cNvPr>
            <p:cNvSpPr/>
            <p:nvPr/>
          </p:nvSpPr>
          <p:spPr>
            <a:xfrm>
              <a:off x="4264950" y="5651169"/>
              <a:ext cx="432048" cy="43204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iślïdé">
              <a:extLst>
                <a:ext uri="{FF2B5EF4-FFF2-40B4-BE49-F238E27FC236}">
                  <a16:creationId xmlns:a16="http://schemas.microsoft.com/office/drawing/2014/main" id="{622F799C-1E3B-9D39-1EBE-9931724C93D1}"/>
                </a:ext>
              </a:extLst>
            </p:cNvPr>
            <p:cNvSpPr/>
            <p:nvPr/>
          </p:nvSpPr>
          <p:spPr>
            <a:xfrm>
              <a:off x="4401650" y="5796308"/>
              <a:ext cx="158649" cy="158649"/>
            </a:xfrm>
            <a:prstGeom prst="chevron">
              <a:avLst/>
            </a:prstGeom>
            <a:solidFill>
              <a:schemeClr val="bg1"/>
            </a:solidFill>
            <a:ln w="6055" cap="flat">
              <a:noFill/>
              <a:prstDash val="solid"/>
              <a:miter/>
            </a:ln>
          </p:spPr>
          <p:txBody>
            <a:bodyPr lIns="108000" tIns="108000" rIns="108000" bIns="108000" rtlCol="0" anchor="ctr"/>
            <a:lstStyle/>
            <a:p>
              <a:endParaRPr lang="zh-CN" alt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3" name="í$ľîḑè">
            <a:extLst>
              <a:ext uri="{FF2B5EF4-FFF2-40B4-BE49-F238E27FC236}">
                <a16:creationId xmlns:a16="http://schemas.microsoft.com/office/drawing/2014/main" id="{14AF69FA-0A75-BA39-FFA5-D500534B723F}"/>
              </a:ext>
            </a:extLst>
          </p:cNvPr>
          <p:cNvGrpSpPr/>
          <p:nvPr/>
        </p:nvGrpSpPr>
        <p:grpSpPr>
          <a:xfrm>
            <a:off x="11181480" y="6057129"/>
            <a:ext cx="432048" cy="432048"/>
            <a:chOff x="4264950" y="5651169"/>
            <a:chExt cx="432048" cy="432048"/>
          </a:xfrm>
        </p:grpSpPr>
        <p:sp>
          <p:nvSpPr>
            <p:cNvPr id="14" name="í$ľíḑè">
              <a:extLst>
                <a:ext uri="{FF2B5EF4-FFF2-40B4-BE49-F238E27FC236}">
                  <a16:creationId xmlns:a16="http://schemas.microsoft.com/office/drawing/2014/main" id="{4C0625B8-BD84-36F4-891F-45F6FC0B275F}"/>
                </a:ext>
              </a:extLst>
            </p:cNvPr>
            <p:cNvSpPr/>
            <p:nvPr/>
          </p:nvSpPr>
          <p:spPr>
            <a:xfrm>
              <a:off x="4264950" y="5651169"/>
              <a:ext cx="432048" cy="43204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ísḻiḍê">
              <a:extLst>
                <a:ext uri="{FF2B5EF4-FFF2-40B4-BE49-F238E27FC236}">
                  <a16:creationId xmlns:a16="http://schemas.microsoft.com/office/drawing/2014/main" id="{064A02FB-66C1-EE14-C5BD-5605F8ADB252}"/>
                </a:ext>
              </a:extLst>
            </p:cNvPr>
            <p:cNvSpPr/>
            <p:nvPr/>
          </p:nvSpPr>
          <p:spPr>
            <a:xfrm>
              <a:off x="4401650" y="5796308"/>
              <a:ext cx="158649" cy="158649"/>
            </a:xfrm>
            <a:prstGeom prst="chevron">
              <a:avLst/>
            </a:prstGeom>
            <a:solidFill>
              <a:schemeClr val="bg1"/>
            </a:solidFill>
            <a:ln w="6055" cap="flat">
              <a:noFill/>
              <a:prstDash val="solid"/>
              <a:miter/>
            </a:ln>
          </p:spPr>
          <p:txBody>
            <a:bodyPr lIns="108000" tIns="108000" rIns="108000" bIns="108000" rtlCol="0" anchor="ctr"/>
            <a:lstStyle/>
            <a:p>
              <a:endParaRPr lang="zh-CN" altLang="en-US">
                <a:solidFill>
                  <a:schemeClr val="tx1"/>
                </a:solidFill>
              </a:endParaRPr>
            </a:p>
          </p:txBody>
        </p:sp>
      </p:grpSp>
      <p:sp>
        <p:nvSpPr>
          <p:cNvPr id="17" name="Title 7">
            <a:extLst>
              <a:ext uri="{FF2B5EF4-FFF2-40B4-BE49-F238E27FC236}">
                <a16:creationId xmlns:a16="http://schemas.microsoft.com/office/drawing/2014/main" id="{6F0ABB95-227F-708A-C8F0-0E1C6229E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739" y="173235"/>
            <a:ext cx="10613383" cy="860387"/>
          </a:xfrm>
        </p:spPr>
        <p:txBody>
          <a:bodyPr vert="horz" anchor="ctr">
            <a:normAutofit/>
          </a:bodyPr>
          <a:lstStyle/>
          <a:p>
            <a:r>
              <a:rPr lang="ru-RU" sz="3200" b="1" dirty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rPr>
              <a:t>Дальнейшие шаги</a:t>
            </a:r>
            <a:endParaRPr lang="en-US" sz="3200" b="1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20B30706-CF35-0C10-96AB-03485E0410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93099" y="1350403"/>
            <a:ext cx="9896069" cy="5333606"/>
          </a:xfrm>
        </p:spPr>
        <p:txBody>
          <a:bodyPr vert="horz" lIns="91440" tIns="45720" rIns="91440" bIns="45720" rtlCol="0" anchor="ctr">
            <a:noAutofit/>
          </a:bodyPr>
          <a:lstStyle/>
          <a:p>
            <a:pPr marL="0" indent="0">
              <a:spcBef>
                <a:spcPts val="1800"/>
              </a:spcBef>
              <a:spcAft>
                <a:spcPts val="1200"/>
              </a:spcAft>
              <a:buNone/>
            </a:pPr>
            <a:r>
              <a:rPr lang="ru-RU" sz="2000" dirty="0">
                <a:latin typeface="Century Gothic" panose="020B0502020202020204" pitchFamily="34" charset="0"/>
              </a:rPr>
              <a:t>Семинар по межсетевому соединению и региональной передаче электроэнергии в 1 квартале 2024 года.</a:t>
            </a:r>
          </a:p>
          <a:p>
            <a:pPr marL="0" indent="0">
              <a:spcBef>
                <a:spcPts val="1800"/>
              </a:spcBef>
              <a:spcAft>
                <a:spcPts val="1200"/>
              </a:spcAft>
              <a:buNone/>
            </a:pPr>
            <a:r>
              <a:rPr lang="ru-RU" sz="2000" dirty="0">
                <a:latin typeface="Century Gothic" panose="020B0502020202020204" pitchFamily="34" charset="0"/>
              </a:rPr>
              <a:t>Ознакомительная поездка в страну с развитым энергетическим рынком (Северный регион) в 2024 г( точные сроки будут объявлены позже).</a:t>
            </a:r>
          </a:p>
          <a:p>
            <a:pPr marL="0" indent="0">
              <a:spcBef>
                <a:spcPts val="1800"/>
              </a:spcBef>
              <a:spcAft>
                <a:spcPts val="1200"/>
              </a:spcAft>
              <a:buNone/>
            </a:pPr>
            <a:r>
              <a:rPr lang="ru-RU" sz="2000" dirty="0">
                <a:latin typeface="Century Gothic" panose="020B0502020202020204" pitchFamily="34" charset="0"/>
              </a:rPr>
              <a:t>7-й Энергетический инвестиционный форум в Казахстане (председательство ЦАРЭС 2024) в 4-м квартале 2024 года.</a:t>
            </a:r>
          </a:p>
          <a:p>
            <a:pPr marL="0" indent="0">
              <a:spcBef>
                <a:spcPts val="1800"/>
              </a:spcBef>
              <a:spcAft>
                <a:spcPts val="1200"/>
              </a:spcAft>
              <a:buNone/>
            </a:pPr>
            <a:r>
              <a:rPr lang="ru-RU" sz="2000" dirty="0">
                <a:latin typeface="Century Gothic" panose="020B0502020202020204" pitchFamily="34" charset="0"/>
              </a:rPr>
              <a:t>Семинар по устойчивому теплоснабжению и энергоэффективности в 1 квартале 2025 г..</a:t>
            </a:r>
            <a:endParaRPr lang="en-US" sz="2000" dirty="0">
              <a:latin typeface="Century Gothic" panose="020B0502020202020204" pitchFamily="34" charset="0"/>
            </a:endParaRPr>
          </a:p>
        </p:txBody>
      </p:sp>
      <p:pic>
        <p:nvPicPr>
          <p:cNvPr id="18" name="Picture 17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45A30758-0C4D-58E4-FE32-F12C2B625B1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490" y="4129374"/>
            <a:ext cx="822960" cy="822960"/>
          </a:xfrm>
          <a:prstGeom prst="rect">
            <a:avLst/>
          </a:prstGeom>
        </p:spPr>
      </p:pic>
      <p:pic>
        <p:nvPicPr>
          <p:cNvPr id="19" name="Picture 18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25A849A0-33F0-2CB4-7518-D39B6C07BE3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379" y="2063362"/>
            <a:ext cx="731520" cy="731520"/>
          </a:xfrm>
          <a:prstGeom prst="rect">
            <a:avLst/>
          </a:prstGeom>
        </p:spPr>
      </p:pic>
      <p:pic>
        <p:nvPicPr>
          <p:cNvPr id="20" name="Picture 19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B961E2F6-38E0-FE6C-DD94-C2CABAE5287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490" y="5228256"/>
            <a:ext cx="731520" cy="731520"/>
          </a:xfrm>
          <a:prstGeom prst="rect">
            <a:avLst/>
          </a:prstGeom>
        </p:spPr>
      </p:pic>
      <p:pic>
        <p:nvPicPr>
          <p:cNvPr id="23" name="Picture 22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74077E1F-8C77-26F2-6A80-1CF0115C543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490" y="3070527"/>
            <a:ext cx="731520" cy="731520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26D5FFBF-0595-3F69-F46A-4DBABE1890CA}"/>
              </a:ext>
            </a:extLst>
          </p:cNvPr>
          <p:cNvSpPr txBox="1"/>
          <p:nvPr/>
        </p:nvSpPr>
        <p:spPr>
          <a:xfrm>
            <a:off x="1589009" y="1068701"/>
            <a:ext cx="924311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Century Gothic" panose="020B0502020202020204" pitchFamily="34" charset="0"/>
              </a:rPr>
              <a:t>Планируемая дальнейшая деятельность энергетического сектора ЦАРЭС:</a:t>
            </a:r>
            <a:endParaRPr lang="en-US" sz="2400" b="1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22397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FDAEA74914DCF4CB1BBCF0E2E5EDB11" ma:contentTypeVersion="17" ma:contentTypeDescription="Create a new document." ma:contentTypeScope="" ma:versionID="30482bcb042da94300ab269d05646591">
  <xsd:schema xmlns:xsd="http://www.w3.org/2001/XMLSchema" xmlns:xs="http://www.w3.org/2001/XMLSchema" xmlns:p="http://schemas.microsoft.com/office/2006/metadata/properties" xmlns:ns2="f668aa56-9285-4561-92d6-d6343913a899" xmlns:ns3="4d0bf39f-aee5-4194-a8cf-9eb94d977901" xmlns:ns4="c1fdd505-2570-46c2-bd04-3e0f2d874cf5" targetNamespace="http://schemas.microsoft.com/office/2006/metadata/properties" ma:root="true" ma:fieldsID="43fff43ee8f6aa09ff18a5919b1d8d27" ns2:_="" ns3:_="" ns4:_="">
    <xsd:import namespace="f668aa56-9285-4561-92d6-d6343913a899"/>
    <xsd:import namespace="4d0bf39f-aee5-4194-a8cf-9eb94d977901"/>
    <xsd:import namespace="c1fdd505-2570-46c2-bd04-3e0f2d874cf5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MediaServiceLocation" minOccurs="0"/>
                <xsd:element ref="ns3:lcf76f155ced4ddcb4097134ff3c332f" minOccurs="0"/>
                <xsd:element ref="ns4:TaxCatchAll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68aa56-9285-4561-92d6-d6343913a89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d0bf39f-aee5-4194-a8cf-9eb94d97790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115af50e-efb3-4a0e-b425-875ff625e09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fdd505-2570-46c2-bd04-3e0f2d874cf5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cf1b58bf-0af3-43f6-8149-3fc5501c152c}" ma:internalName="TaxCatchAll" ma:showField="CatchAllData" ma:web="f668aa56-9285-4561-92d6-d6343913a89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d0bf39f-aee5-4194-a8cf-9eb94d977901">
      <Terms xmlns="http://schemas.microsoft.com/office/infopath/2007/PartnerControls"/>
    </lcf76f155ced4ddcb4097134ff3c332f>
    <TaxCatchAll xmlns="c1fdd505-2570-46c2-bd04-3e0f2d874cf5" xsi:nil="true"/>
  </documentManagement>
</p:properties>
</file>

<file path=customXml/itemProps1.xml><?xml version="1.0" encoding="utf-8"?>
<ds:datastoreItem xmlns:ds="http://schemas.openxmlformats.org/officeDocument/2006/customXml" ds:itemID="{7D886D26-4809-418B-A9FE-83BCAA690ED0}">
  <ds:schemaRefs>
    <ds:schemaRef ds:uri="4d0bf39f-aee5-4194-a8cf-9eb94d977901"/>
    <ds:schemaRef ds:uri="c1fdd505-2570-46c2-bd04-3e0f2d874cf5"/>
    <ds:schemaRef ds:uri="f668aa56-9285-4561-92d6-d6343913a89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90874052-6454-449E-A57E-B13879DA84D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835D73B-52B6-4C33-96B6-BF3B1E78EB5B}">
  <ds:schemaRefs>
    <ds:schemaRef ds:uri="f668aa56-9285-4561-92d6-d6343913a899"/>
    <ds:schemaRef ds:uri="http://schemas.microsoft.com/office/2006/documentManagement/types"/>
    <ds:schemaRef ds:uri="http://purl.org/dc/elements/1.1/"/>
    <ds:schemaRef ds:uri="4d0bf39f-aee5-4194-a8cf-9eb94d977901"/>
    <ds:schemaRef ds:uri="http://schemas.openxmlformats.org/package/2006/metadata/core-properties"/>
    <ds:schemaRef ds:uri="http://schemas.microsoft.com/office/infopath/2007/PartnerControls"/>
    <ds:schemaRef ds:uri="c1fdd505-2570-46c2-bd04-3e0f2d874cf5"/>
    <ds:schemaRef ds:uri="http://purl.org/dc/terms/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0</TotalTime>
  <Words>655</Words>
  <Application>Microsoft Office PowerPoint</Application>
  <PresentationFormat>Widescreen</PresentationFormat>
  <Paragraphs>50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Arial</vt:lpstr>
      <vt:lpstr>Calibri</vt:lpstr>
      <vt:lpstr>Calibri Light</vt:lpstr>
      <vt:lpstr>Century Gothic</vt:lpstr>
      <vt:lpstr>Office Theme</vt:lpstr>
      <vt:lpstr>think-cell Slide</vt:lpstr>
      <vt:lpstr> обновленная информация по предстоящему Энергетическому инвестиционному форуму Тбилиси, 28-29 ноября 2023 г.</vt:lpstr>
      <vt:lpstr>Справочная информация</vt:lpstr>
      <vt:lpstr>Цель</vt:lpstr>
      <vt:lpstr>Статус 6го Энергетического инвестиционного форума ЦАРЭС</vt:lpstr>
      <vt:lpstr>Ожидания правительств стран ЦАРЭС</vt:lpstr>
      <vt:lpstr>Дальнейшие шаги</vt:lpstr>
    </vt:vector>
  </TitlesOfParts>
  <Manager/>
  <Company>Asian Development Bank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Martin S. Jaer</dc:creator>
  <cp:keywords/>
  <dc:description/>
  <cp:lastModifiedBy>Reneli Gloria</cp:lastModifiedBy>
  <cp:revision>9</cp:revision>
  <cp:lastPrinted>2023-10-12T01:30:42Z</cp:lastPrinted>
  <dcterms:created xsi:type="dcterms:W3CDTF">2023-05-24T07:25:37Z</dcterms:created>
  <dcterms:modified xsi:type="dcterms:W3CDTF">2023-10-17T07:55:16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17d4574-7375-4d17-b29c-6e4c6df0fcb0_Enabled">
    <vt:lpwstr>true</vt:lpwstr>
  </property>
  <property fmtid="{D5CDD505-2E9C-101B-9397-08002B2CF9AE}" pid="3" name="MSIP_Label_817d4574-7375-4d17-b29c-6e4c6df0fcb0_SetDate">
    <vt:lpwstr>2023-05-24T07:25:37Z</vt:lpwstr>
  </property>
  <property fmtid="{D5CDD505-2E9C-101B-9397-08002B2CF9AE}" pid="4" name="MSIP_Label_817d4574-7375-4d17-b29c-6e4c6df0fcb0_Method">
    <vt:lpwstr>Standard</vt:lpwstr>
  </property>
  <property fmtid="{D5CDD505-2E9C-101B-9397-08002B2CF9AE}" pid="5" name="MSIP_Label_817d4574-7375-4d17-b29c-6e4c6df0fcb0_Name">
    <vt:lpwstr>ADB Internal</vt:lpwstr>
  </property>
  <property fmtid="{D5CDD505-2E9C-101B-9397-08002B2CF9AE}" pid="6" name="MSIP_Label_817d4574-7375-4d17-b29c-6e4c6df0fcb0_SiteId">
    <vt:lpwstr>9495d6bb-41c2-4c58-848f-92e52cf3d640</vt:lpwstr>
  </property>
  <property fmtid="{D5CDD505-2E9C-101B-9397-08002B2CF9AE}" pid="7" name="MSIP_Label_817d4574-7375-4d17-b29c-6e4c6df0fcb0_ActionId">
    <vt:lpwstr>16d94461-2355-4af3-8f78-361d57ecb44d</vt:lpwstr>
  </property>
  <property fmtid="{D5CDD505-2E9C-101B-9397-08002B2CF9AE}" pid="8" name="MSIP_Label_817d4574-7375-4d17-b29c-6e4c6df0fcb0_ContentBits">
    <vt:lpwstr>2</vt:lpwstr>
  </property>
  <property fmtid="{D5CDD505-2E9C-101B-9397-08002B2CF9AE}" pid="9" name="ClassificationContentMarkingFooterLocations">
    <vt:lpwstr>Office Theme:8</vt:lpwstr>
  </property>
  <property fmtid="{D5CDD505-2E9C-101B-9397-08002B2CF9AE}" pid="10" name="ClassificationContentMarkingFooterText">
    <vt:lpwstr>INTERNAL. This information is accessible to ADB Management and staff. It may be shared outside ADB with appropriate permission.</vt:lpwstr>
  </property>
  <property fmtid="{D5CDD505-2E9C-101B-9397-08002B2CF9AE}" pid="11" name="ContentTypeId">
    <vt:lpwstr>0x0101009FDAEA74914DCF4CB1BBCF0E2E5EDB11</vt:lpwstr>
  </property>
  <property fmtid="{D5CDD505-2E9C-101B-9397-08002B2CF9AE}" pid="12" name="MediaServiceImageTags">
    <vt:lpwstr/>
  </property>
</Properties>
</file>